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8" r:id="rId1"/>
  </p:sldMasterIdLst>
  <p:notesMasterIdLst>
    <p:notesMasterId r:id="rId37"/>
  </p:notesMasterIdLst>
  <p:handoutMasterIdLst>
    <p:handoutMasterId r:id="rId38"/>
  </p:handoutMasterIdLst>
  <p:sldIdLst>
    <p:sldId id="359" r:id="rId2"/>
    <p:sldId id="1013" r:id="rId3"/>
    <p:sldId id="500" r:id="rId4"/>
    <p:sldId id="501" r:id="rId5"/>
    <p:sldId id="499" r:id="rId6"/>
    <p:sldId id="502" r:id="rId7"/>
    <p:sldId id="494" r:id="rId8"/>
    <p:sldId id="495" r:id="rId9"/>
    <p:sldId id="496" r:id="rId10"/>
    <p:sldId id="498" r:id="rId11"/>
    <p:sldId id="493" r:id="rId12"/>
    <p:sldId id="507" r:id="rId13"/>
    <p:sldId id="518" r:id="rId14"/>
    <p:sldId id="520" r:id="rId15"/>
    <p:sldId id="512" r:id="rId16"/>
    <p:sldId id="521" r:id="rId17"/>
    <p:sldId id="522" r:id="rId18"/>
    <p:sldId id="523" r:id="rId19"/>
    <p:sldId id="1007" r:id="rId20"/>
    <p:sldId id="508" r:id="rId21"/>
    <p:sldId id="509" r:id="rId22"/>
    <p:sldId id="504" r:id="rId23"/>
    <p:sldId id="938" r:id="rId24"/>
    <p:sldId id="530" r:id="rId25"/>
    <p:sldId id="524" r:id="rId26"/>
    <p:sldId id="545" r:id="rId27"/>
    <p:sldId id="1011" r:id="rId28"/>
    <p:sldId id="531" r:id="rId29"/>
    <p:sldId id="525" r:id="rId30"/>
    <p:sldId id="532" r:id="rId31"/>
    <p:sldId id="529" r:id="rId32"/>
    <p:sldId id="1008" r:id="rId33"/>
    <p:sldId id="527" r:id="rId34"/>
    <p:sldId id="528" r:id="rId35"/>
    <p:sldId id="1014" r:id="rId36"/>
  </p:sldIdLst>
  <p:sldSz cx="9144000" cy="5715000" type="screen16x10"/>
  <p:notesSz cx="6858000" cy="9144000"/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B787"/>
    <a:srgbClr val="00A9CE"/>
    <a:srgbClr val="43C2CC"/>
    <a:srgbClr val="007B96"/>
    <a:srgbClr val="0262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27" autoAdjust="0"/>
    <p:restoredTop sz="77608" autoAdjust="0"/>
  </p:normalViewPr>
  <p:slideViewPr>
    <p:cSldViewPr snapToGrid="0">
      <p:cViewPr varScale="1">
        <p:scale>
          <a:sx n="97" d="100"/>
          <a:sy n="97" d="100"/>
        </p:scale>
        <p:origin x="508" y="60"/>
      </p:cViewPr>
      <p:guideLst/>
    </p:cSldViewPr>
  </p:slideViewPr>
  <p:outlineViewPr>
    <p:cViewPr>
      <p:scale>
        <a:sx n="33" d="100"/>
        <a:sy n="33" d="100"/>
      </p:scale>
      <p:origin x="0" y="-690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044"/>
    </p:cViewPr>
  </p:sorterViewPr>
  <p:notesViewPr>
    <p:cSldViewPr snapToGrid="0" showGuides="1">
      <p:cViewPr varScale="1">
        <p:scale>
          <a:sx n="119" d="100"/>
          <a:sy n="119" d="100"/>
        </p:scale>
        <p:origin x="205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1F5D922-A647-5945-89E1-2B1158E87E7C}" type="doc">
      <dgm:prSet loTypeId="urn:microsoft.com/office/officeart/2005/8/layout/hierarchy3" loCatId="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41DCB497-4F67-7240-B1C3-DED53DF245ED}">
      <dgm:prSet phldrT="[Text]" custT="1"/>
      <dgm:spPr/>
      <dgm:t>
        <a:bodyPr/>
        <a:lstStyle/>
        <a:p>
          <a:r>
            <a:rPr lang="en-US" sz="1200" b="1" dirty="0"/>
            <a:t>Functional suitability</a:t>
          </a:r>
        </a:p>
      </dgm:t>
    </dgm:pt>
    <dgm:pt modelId="{EF8DA8D5-FCE9-E14D-9897-BF3EC678B95A}" type="parTrans" cxnId="{FFF9D69F-B680-CD4D-822F-03F59C058A3D}">
      <dgm:prSet/>
      <dgm:spPr/>
      <dgm:t>
        <a:bodyPr/>
        <a:lstStyle/>
        <a:p>
          <a:endParaRPr lang="en-US" sz="2800" b="1"/>
        </a:p>
      </dgm:t>
    </dgm:pt>
    <dgm:pt modelId="{5AAC9A2B-AAFE-704A-A72E-E6537DEA1C39}" type="sibTrans" cxnId="{FFF9D69F-B680-CD4D-822F-03F59C058A3D}">
      <dgm:prSet/>
      <dgm:spPr/>
      <dgm:t>
        <a:bodyPr/>
        <a:lstStyle/>
        <a:p>
          <a:endParaRPr lang="en-US" sz="2800" b="1"/>
        </a:p>
      </dgm:t>
    </dgm:pt>
    <dgm:pt modelId="{53C1FC7C-FB8B-ED43-B796-B56D223ECB81}">
      <dgm:prSet phldrT="[Text]" custT="1"/>
      <dgm:spPr/>
      <dgm:t>
        <a:bodyPr/>
        <a:lstStyle/>
        <a:p>
          <a:r>
            <a:rPr lang="en-US" sz="1000" b="1" dirty="0"/>
            <a:t>Functional correctness</a:t>
          </a:r>
        </a:p>
      </dgm:t>
    </dgm:pt>
    <dgm:pt modelId="{05D8882D-F16D-AB43-A3F3-30720E7BFBE0}" type="parTrans" cxnId="{27293FC4-AFA8-C04F-827D-EF7C5DFD5E2F}">
      <dgm:prSet/>
      <dgm:spPr/>
      <dgm:t>
        <a:bodyPr/>
        <a:lstStyle/>
        <a:p>
          <a:endParaRPr lang="en-US" sz="2800" b="1"/>
        </a:p>
      </dgm:t>
    </dgm:pt>
    <dgm:pt modelId="{FA1A555A-A4F9-B143-A6AC-EE0D227AD57C}" type="sibTrans" cxnId="{27293FC4-AFA8-C04F-827D-EF7C5DFD5E2F}">
      <dgm:prSet/>
      <dgm:spPr/>
      <dgm:t>
        <a:bodyPr/>
        <a:lstStyle/>
        <a:p>
          <a:endParaRPr lang="en-US" sz="2800" b="1"/>
        </a:p>
      </dgm:t>
    </dgm:pt>
    <dgm:pt modelId="{444FF2BE-46A6-0C4D-9D6A-8EF2ABCAD744}">
      <dgm:prSet phldrT="[Text]" custT="1"/>
      <dgm:spPr/>
      <dgm:t>
        <a:bodyPr/>
        <a:lstStyle/>
        <a:p>
          <a:r>
            <a:rPr lang="en-US" sz="1000" b="1" dirty="0"/>
            <a:t>Functional complete-ness</a:t>
          </a:r>
        </a:p>
      </dgm:t>
    </dgm:pt>
    <dgm:pt modelId="{136354CD-7547-0F40-90F8-3C436C8B34AB}" type="parTrans" cxnId="{8287EA18-CC81-C647-AE7B-8853F485D1CB}">
      <dgm:prSet/>
      <dgm:spPr/>
      <dgm:t>
        <a:bodyPr/>
        <a:lstStyle/>
        <a:p>
          <a:endParaRPr lang="en-US" sz="2800" b="1"/>
        </a:p>
      </dgm:t>
    </dgm:pt>
    <dgm:pt modelId="{08BBC0FC-E5EF-2F48-9E65-A9D096746A03}" type="sibTrans" cxnId="{8287EA18-CC81-C647-AE7B-8853F485D1CB}">
      <dgm:prSet/>
      <dgm:spPr/>
      <dgm:t>
        <a:bodyPr/>
        <a:lstStyle/>
        <a:p>
          <a:endParaRPr lang="en-US" sz="2800" b="1"/>
        </a:p>
      </dgm:t>
    </dgm:pt>
    <dgm:pt modelId="{2F9FF1B4-EA6C-7C4A-A81D-BD01257A79E7}">
      <dgm:prSet phldrT="[Text]" custT="1"/>
      <dgm:spPr/>
      <dgm:t>
        <a:bodyPr/>
        <a:lstStyle/>
        <a:p>
          <a:r>
            <a:rPr lang="en-US" sz="1200" b="1" dirty="0"/>
            <a:t>Performance efficiency</a:t>
          </a:r>
        </a:p>
      </dgm:t>
    </dgm:pt>
    <dgm:pt modelId="{DA9D38D4-F370-4C44-9EDE-EC75DD5C2DFF}" type="parTrans" cxnId="{B35CECD8-25B5-B043-BE4F-8B988CB5BE56}">
      <dgm:prSet/>
      <dgm:spPr/>
      <dgm:t>
        <a:bodyPr/>
        <a:lstStyle/>
        <a:p>
          <a:endParaRPr lang="en-US" sz="2800" b="1"/>
        </a:p>
      </dgm:t>
    </dgm:pt>
    <dgm:pt modelId="{73A9813E-E570-3849-9A3D-EE8BC43EE56C}" type="sibTrans" cxnId="{B35CECD8-25B5-B043-BE4F-8B988CB5BE56}">
      <dgm:prSet/>
      <dgm:spPr/>
      <dgm:t>
        <a:bodyPr/>
        <a:lstStyle/>
        <a:p>
          <a:endParaRPr lang="en-US" sz="2800" b="1"/>
        </a:p>
      </dgm:t>
    </dgm:pt>
    <dgm:pt modelId="{FDAB69C9-3BA5-8240-A3EA-4A596500E358}">
      <dgm:prSet phldrT="[Text]" custT="1"/>
      <dgm:spPr/>
      <dgm:t>
        <a:bodyPr/>
        <a:lstStyle/>
        <a:p>
          <a:r>
            <a:rPr lang="en-US" sz="1000" b="1" dirty="0"/>
            <a:t>Capacity</a:t>
          </a:r>
        </a:p>
      </dgm:t>
    </dgm:pt>
    <dgm:pt modelId="{EE9B1C0E-FF5B-F64D-97DA-1EFCDC6AC4F0}" type="parTrans" cxnId="{7D24917B-F264-4E45-BDE3-71E6B04AAB54}">
      <dgm:prSet/>
      <dgm:spPr/>
      <dgm:t>
        <a:bodyPr/>
        <a:lstStyle/>
        <a:p>
          <a:endParaRPr lang="en-US" sz="2800" b="1"/>
        </a:p>
      </dgm:t>
    </dgm:pt>
    <dgm:pt modelId="{32666D97-8610-9945-B7FA-DE82EDE8AF0D}" type="sibTrans" cxnId="{7D24917B-F264-4E45-BDE3-71E6B04AAB54}">
      <dgm:prSet/>
      <dgm:spPr/>
      <dgm:t>
        <a:bodyPr/>
        <a:lstStyle/>
        <a:p>
          <a:endParaRPr lang="en-US" sz="2800" b="1"/>
        </a:p>
      </dgm:t>
    </dgm:pt>
    <dgm:pt modelId="{299096F4-3ED2-8C4A-9186-AB4A03B8C0C6}">
      <dgm:prSet phldrT="[Text]" custT="1"/>
      <dgm:spPr/>
      <dgm:t>
        <a:bodyPr/>
        <a:lstStyle/>
        <a:p>
          <a:r>
            <a:rPr lang="en-US" sz="1000" b="1" dirty="0"/>
            <a:t>Resource utilization</a:t>
          </a:r>
        </a:p>
      </dgm:t>
    </dgm:pt>
    <dgm:pt modelId="{3E784F15-FAE9-BB49-95C5-CAC859C56617}" type="parTrans" cxnId="{841DCEAB-77F6-C149-B398-963E03A33824}">
      <dgm:prSet/>
      <dgm:spPr/>
      <dgm:t>
        <a:bodyPr/>
        <a:lstStyle/>
        <a:p>
          <a:endParaRPr lang="en-US" sz="2800" b="1"/>
        </a:p>
      </dgm:t>
    </dgm:pt>
    <dgm:pt modelId="{82A589DB-9981-E041-A7ED-B93DEBADEC5B}" type="sibTrans" cxnId="{841DCEAB-77F6-C149-B398-963E03A33824}">
      <dgm:prSet/>
      <dgm:spPr/>
      <dgm:t>
        <a:bodyPr/>
        <a:lstStyle/>
        <a:p>
          <a:endParaRPr lang="en-US" sz="2800" b="1"/>
        </a:p>
      </dgm:t>
    </dgm:pt>
    <dgm:pt modelId="{FD4DD728-38B2-774B-93E8-0922AD3E17ED}">
      <dgm:prSet phldrT="[Text]" custT="1"/>
      <dgm:spPr/>
      <dgm:t>
        <a:bodyPr/>
        <a:lstStyle/>
        <a:p>
          <a:r>
            <a:rPr lang="en-US" sz="1000" b="1" dirty="0"/>
            <a:t>Functional appropriate-ness</a:t>
          </a:r>
        </a:p>
      </dgm:t>
    </dgm:pt>
    <dgm:pt modelId="{E876EA2D-293D-BC4A-A196-3712A4F5CDB1}" type="parTrans" cxnId="{18F85895-D2F9-9B49-BDF4-644A05E7DFBE}">
      <dgm:prSet/>
      <dgm:spPr/>
      <dgm:t>
        <a:bodyPr/>
        <a:lstStyle/>
        <a:p>
          <a:endParaRPr lang="en-US" sz="2800" b="1"/>
        </a:p>
      </dgm:t>
    </dgm:pt>
    <dgm:pt modelId="{C3859D40-5AA0-844D-825E-EBCAAA87B506}" type="sibTrans" cxnId="{18F85895-D2F9-9B49-BDF4-644A05E7DFBE}">
      <dgm:prSet/>
      <dgm:spPr/>
      <dgm:t>
        <a:bodyPr/>
        <a:lstStyle/>
        <a:p>
          <a:endParaRPr lang="en-US" sz="2800" b="1"/>
        </a:p>
      </dgm:t>
    </dgm:pt>
    <dgm:pt modelId="{2704C766-EA22-D046-80C0-C5A0AF66F85D}">
      <dgm:prSet phldrT="[Text]" custT="1"/>
      <dgm:spPr/>
      <dgm:t>
        <a:bodyPr/>
        <a:lstStyle/>
        <a:p>
          <a:r>
            <a:rPr lang="en-US" sz="1000" b="1" dirty="0"/>
            <a:t>Time behavior</a:t>
          </a:r>
        </a:p>
      </dgm:t>
    </dgm:pt>
    <dgm:pt modelId="{9F0F78F8-60F2-FB40-ACE6-A8E46E10A1BB}" type="parTrans" cxnId="{1E5CE1B3-6395-C843-B3EF-0F8FAF4FD5BD}">
      <dgm:prSet/>
      <dgm:spPr/>
      <dgm:t>
        <a:bodyPr/>
        <a:lstStyle/>
        <a:p>
          <a:endParaRPr lang="en-US" sz="2800" b="1"/>
        </a:p>
      </dgm:t>
    </dgm:pt>
    <dgm:pt modelId="{47C8D04F-C358-9A48-B736-2D8B40E8D061}" type="sibTrans" cxnId="{1E5CE1B3-6395-C843-B3EF-0F8FAF4FD5BD}">
      <dgm:prSet/>
      <dgm:spPr/>
      <dgm:t>
        <a:bodyPr/>
        <a:lstStyle/>
        <a:p>
          <a:endParaRPr lang="en-US" sz="2800" b="1"/>
        </a:p>
      </dgm:t>
    </dgm:pt>
    <dgm:pt modelId="{8F051BCC-AB3B-394F-ADE0-550A8288E9D1}">
      <dgm:prSet custT="1"/>
      <dgm:spPr/>
      <dgm:t>
        <a:bodyPr/>
        <a:lstStyle/>
        <a:p>
          <a:r>
            <a:rPr lang="en-US" sz="1200" b="1" dirty="0" err="1"/>
            <a:t>Compatib-ility</a:t>
          </a:r>
          <a:endParaRPr lang="en-US" sz="1200" b="1" dirty="0"/>
        </a:p>
      </dgm:t>
    </dgm:pt>
    <dgm:pt modelId="{70BF84AD-BF26-A249-B0E7-CCCCE1D37B64}" type="parTrans" cxnId="{F7B636A9-3F1D-4E4B-BBB1-A7922D6922B2}">
      <dgm:prSet/>
      <dgm:spPr/>
      <dgm:t>
        <a:bodyPr/>
        <a:lstStyle/>
        <a:p>
          <a:endParaRPr lang="en-US" sz="2800" b="1"/>
        </a:p>
      </dgm:t>
    </dgm:pt>
    <dgm:pt modelId="{2E3D6173-BE70-F34B-950B-1C3702EC581B}" type="sibTrans" cxnId="{F7B636A9-3F1D-4E4B-BBB1-A7922D6922B2}">
      <dgm:prSet/>
      <dgm:spPr/>
      <dgm:t>
        <a:bodyPr/>
        <a:lstStyle/>
        <a:p>
          <a:endParaRPr lang="en-US" sz="2800" b="1"/>
        </a:p>
      </dgm:t>
    </dgm:pt>
    <dgm:pt modelId="{598FE064-F072-2E43-BEAE-80E649AEA9AE}">
      <dgm:prSet custT="1"/>
      <dgm:spPr/>
      <dgm:t>
        <a:bodyPr/>
        <a:lstStyle/>
        <a:p>
          <a:r>
            <a:rPr lang="en-US" sz="1000" b="1"/>
            <a:t>Interop-erability</a:t>
          </a:r>
          <a:endParaRPr lang="en-US" sz="1000" b="1" dirty="0"/>
        </a:p>
      </dgm:t>
    </dgm:pt>
    <dgm:pt modelId="{224B842B-4E55-914D-977A-0FFA6511356C}" type="parTrans" cxnId="{6CB113AA-9DEA-194E-B4B1-C591C50EA489}">
      <dgm:prSet/>
      <dgm:spPr/>
      <dgm:t>
        <a:bodyPr/>
        <a:lstStyle/>
        <a:p>
          <a:endParaRPr lang="en-US" sz="2800" b="1"/>
        </a:p>
      </dgm:t>
    </dgm:pt>
    <dgm:pt modelId="{BF168AA6-8FD0-D546-926D-CD54C2D9060A}" type="sibTrans" cxnId="{6CB113AA-9DEA-194E-B4B1-C591C50EA489}">
      <dgm:prSet/>
      <dgm:spPr/>
      <dgm:t>
        <a:bodyPr/>
        <a:lstStyle/>
        <a:p>
          <a:endParaRPr lang="en-US" sz="2800" b="1"/>
        </a:p>
      </dgm:t>
    </dgm:pt>
    <dgm:pt modelId="{E6E223AD-5E94-2440-8F3B-B6DE336C4CEC}">
      <dgm:prSet custT="1"/>
      <dgm:spPr/>
      <dgm:t>
        <a:bodyPr/>
        <a:lstStyle/>
        <a:p>
          <a:r>
            <a:rPr lang="en-US" sz="1000" b="1" dirty="0"/>
            <a:t>Co-existence</a:t>
          </a:r>
        </a:p>
      </dgm:t>
    </dgm:pt>
    <dgm:pt modelId="{7E0FC8F8-EB3C-C748-BAEB-624230241256}" type="parTrans" cxnId="{89AA0514-B813-FC49-9C07-87B67F6A64C2}">
      <dgm:prSet/>
      <dgm:spPr/>
      <dgm:t>
        <a:bodyPr/>
        <a:lstStyle/>
        <a:p>
          <a:endParaRPr lang="en-US" sz="2800" b="1"/>
        </a:p>
      </dgm:t>
    </dgm:pt>
    <dgm:pt modelId="{BCD642E1-79CF-A944-A179-9D259CAED5F2}" type="sibTrans" cxnId="{89AA0514-B813-FC49-9C07-87B67F6A64C2}">
      <dgm:prSet/>
      <dgm:spPr/>
      <dgm:t>
        <a:bodyPr/>
        <a:lstStyle/>
        <a:p>
          <a:endParaRPr lang="en-US" sz="2800" b="1"/>
        </a:p>
      </dgm:t>
    </dgm:pt>
    <dgm:pt modelId="{AC1C2011-E47F-F24C-8B7C-4E3BC1DFAB2D}">
      <dgm:prSet custT="1"/>
      <dgm:spPr/>
      <dgm:t>
        <a:bodyPr/>
        <a:lstStyle/>
        <a:p>
          <a:r>
            <a:rPr lang="en-US" sz="1200" b="1" dirty="0"/>
            <a:t>Usability</a:t>
          </a:r>
        </a:p>
      </dgm:t>
    </dgm:pt>
    <dgm:pt modelId="{875C913E-520C-F54F-B29E-C519013B05EF}" type="parTrans" cxnId="{F166A007-9572-FC4E-A4C0-A1502C01C84F}">
      <dgm:prSet/>
      <dgm:spPr/>
      <dgm:t>
        <a:bodyPr/>
        <a:lstStyle/>
        <a:p>
          <a:endParaRPr lang="en-US" sz="2800" b="1"/>
        </a:p>
      </dgm:t>
    </dgm:pt>
    <dgm:pt modelId="{822AF7AC-50EA-A147-96D3-4CCEFC7F8215}" type="sibTrans" cxnId="{F166A007-9572-FC4E-A4C0-A1502C01C84F}">
      <dgm:prSet/>
      <dgm:spPr/>
      <dgm:t>
        <a:bodyPr/>
        <a:lstStyle/>
        <a:p>
          <a:endParaRPr lang="en-US" sz="2800" b="1"/>
        </a:p>
      </dgm:t>
    </dgm:pt>
    <dgm:pt modelId="{B0893E9D-79A1-714C-9815-3E92244E91ED}">
      <dgm:prSet custT="1"/>
      <dgm:spPr/>
      <dgm:t>
        <a:bodyPr/>
        <a:lstStyle/>
        <a:p>
          <a:r>
            <a:rPr lang="en-US" sz="1000" b="1" dirty="0"/>
            <a:t>Operability </a:t>
          </a:r>
        </a:p>
      </dgm:t>
    </dgm:pt>
    <dgm:pt modelId="{BE09F905-F57D-3A41-B986-6174F9DE9EF6}" type="parTrans" cxnId="{970C8F44-585A-5948-930E-9E835ABDD018}">
      <dgm:prSet/>
      <dgm:spPr/>
      <dgm:t>
        <a:bodyPr/>
        <a:lstStyle/>
        <a:p>
          <a:endParaRPr lang="en-US" sz="2800" b="1"/>
        </a:p>
      </dgm:t>
    </dgm:pt>
    <dgm:pt modelId="{9716B081-0A92-BB46-BEA7-6085DD96F792}" type="sibTrans" cxnId="{970C8F44-585A-5948-930E-9E835ABDD018}">
      <dgm:prSet/>
      <dgm:spPr/>
      <dgm:t>
        <a:bodyPr/>
        <a:lstStyle/>
        <a:p>
          <a:endParaRPr lang="en-US" sz="2800" b="1"/>
        </a:p>
      </dgm:t>
    </dgm:pt>
    <dgm:pt modelId="{B38F1EE6-D813-644B-B80E-DC72FD03A0A2}">
      <dgm:prSet custT="1"/>
      <dgm:spPr/>
      <dgm:t>
        <a:bodyPr/>
        <a:lstStyle/>
        <a:p>
          <a:r>
            <a:rPr lang="en-US" sz="1000" b="1" dirty="0"/>
            <a:t>User error protection</a:t>
          </a:r>
        </a:p>
      </dgm:t>
    </dgm:pt>
    <dgm:pt modelId="{35DE522F-B866-F941-BC4D-91F450E2F441}" type="parTrans" cxnId="{FD352A94-4692-BA4B-AFBA-53ED2D5C7456}">
      <dgm:prSet/>
      <dgm:spPr/>
      <dgm:t>
        <a:bodyPr/>
        <a:lstStyle/>
        <a:p>
          <a:endParaRPr lang="en-US" sz="2800" b="1"/>
        </a:p>
      </dgm:t>
    </dgm:pt>
    <dgm:pt modelId="{D872DCFB-4FCB-0A4F-8B9F-20D50B54D705}" type="sibTrans" cxnId="{FD352A94-4692-BA4B-AFBA-53ED2D5C7456}">
      <dgm:prSet/>
      <dgm:spPr/>
      <dgm:t>
        <a:bodyPr/>
        <a:lstStyle/>
        <a:p>
          <a:endParaRPr lang="en-US" sz="2800" b="1"/>
        </a:p>
      </dgm:t>
    </dgm:pt>
    <dgm:pt modelId="{0E8CD457-DF9A-854A-B772-A66C169B0588}">
      <dgm:prSet custT="1"/>
      <dgm:spPr/>
      <dgm:t>
        <a:bodyPr/>
        <a:lstStyle/>
        <a:p>
          <a:r>
            <a:rPr lang="en-US" sz="1200" b="1" dirty="0"/>
            <a:t>Reliability</a:t>
          </a:r>
        </a:p>
      </dgm:t>
    </dgm:pt>
    <dgm:pt modelId="{08F59359-C013-7E47-94F6-E90D860A58DF}" type="parTrans" cxnId="{F60A0691-5045-394F-956D-7F5888590301}">
      <dgm:prSet/>
      <dgm:spPr/>
      <dgm:t>
        <a:bodyPr/>
        <a:lstStyle/>
        <a:p>
          <a:endParaRPr lang="en-US" sz="2800" b="1"/>
        </a:p>
      </dgm:t>
    </dgm:pt>
    <dgm:pt modelId="{8E08FD71-FC03-CB42-A5BD-73669B7ED237}" type="sibTrans" cxnId="{F60A0691-5045-394F-956D-7F5888590301}">
      <dgm:prSet/>
      <dgm:spPr/>
      <dgm:t>
        <a:bodyPr/>
        <a:lstStyle/>
        <a:p>
          <a:endParaRPr lang="en-US" sz="2800" b="1"/>
        </a:p>
      </dgm:t>
    </dgm:pt>
    <dgm:pt modelId="{D01FFA2E-324C-4F44-8F5B-1D93BA14C37D}">
      <dgm:prSet custT="1"/>
      <dgm:spPr/>
      <dgm:t>
        <a:bodyPr/>
        <a:lstStyle/>
        <a:p>
          <a:r>
            <a:rPr lang="en-US" sz="1000" b="1"/>
            <a:t>Availability</a:t>
          </a:r>
          <a:endParaRPr lang="en-US" sz="1000" b="1" dirty="0"/>
        </a:p>
      </dgm:t>
    </dgm:pt>
    <dgm:pt modelId="{883F9595-6196-5F40-B439-137031A0CA92}" type="parTrans" cxnId="{F1127820-0574-C84E-A90D-0BDE230F30CE}">
      <dgm:prSet/>
      <dgm:spPr/>
      <dgm:t>
        <a:bodyPr/>
        <a:lstStyle/>
        <a:p>
          <a:endParaRPr lang="en-US" sz="2800" b="1"/>
        </a:p>
      </dgm:t>
    </dgm:pt>
    <dgm:pt modelId="{B6B99295-B775-EA45-BDE7-A0F66DFE49C2}" type="sibTrans" cxnId="{F1127820-0574-C84E-A90D-0BDE230F30CE}">
      <dgm:prSet/>
      <dgm:spPr/>
      <dgm:t>
        <a:bodyPr/>
        <a:lstStyle/>
        <a:p>
          <a:endParaRPr lang="en-US" sz="2800" b="1"/>
        </a:p>
      </dgm:t>
    </dgm:pt>
    <dgm:pt modelId="{16038EE6-6BF3-4B48-9980-ACC7A6420663}">
      <dgm:prSet custT="1"/>
      <dgm:spPr/>
      <dgm:t>
        <a:bodyPr/>
        <a:lstStyle/>
        <a:p>
          <a:r>
            <a:rPr lang="en-US" sz="1000" b="1" dirty="0" err="1"/>
            <a:t>Recoverab-ility</a:t>
          </a:r>
          <a:endParaRPr lang="en-US" sz="1000" b="1" dirty="0"/>
        </a:p>
      </dgm:t>
    </dgm:pt>
    <dgm:pt modelId="{AE8F0254-C357-F34A-B5AE-12FF6C1B5C26}" type="parTrans" cxnId="{9CB096C1-9AF6-1945-B1A9-5046E66C8772}">
      <dgm:prSet/>
      <dgm:spPr/>
      <dgm:t>
        <a:bodyPr/>
        <a:lstStyle/>
        <a:p>
          <a:endParaRPr lang="en-US" sz="2800" b="1"/>
        </a:p>
      </dgm:t>
    </dgm:pt>
    <dgm:pt modelId="{0B8419AD-1F4A-364B-AB5A-51FA3B4CE4AF}" type="sibTrans" cxnId="{9CB096C1-9AF6-1945-B1A9-5046E66C8772}">
      <dgm:prSet/>
      <dgm:spPr/>
      <dgm:t>
        <a:bodyPr/>
        <a:lstStyle/>
        <a:p>
          <a:endParaRPr lang="en-US" sz="2800" b="1"/>
        </a:p>
      </dgm:t>
    </dgm:pt>
    <dgm:pt modelId="{8DC7C76D-6C75-D742-A16F-9E797B71B627}">
      <dgm:prSet custT="1"/>
      <dgm:spPr/>
      <dgm:t>
        <a:bodyPr/>
        <a:lstStyle/>
        <a:p>
          <a:r>
            <a:rPr lang="en-US" sz="1000" b="1" dirty="0"/>
            <a:t>Maturity </a:t>
          </a:r>
        </a:p>
      </dgm:t>
    </dgm:pt>
    <dgm:pt modelId="{B41E6929-1A8C-EF44-A394-950681650A9E}" type="parTrans" cxnId="{5DBEB98B-738C-ED4F-AD67-E2390B57594D}">
      <dgm:prSet/>
      <dgm:spPr/>
      <dgm:t>
        <a:bodyPr/>
        <a:lstStyle/>
        <a:p>
          <a:endParaRPr lang="en-US" sz="2800" b="1"/>
        </a:p>
      </dgm:t>
    </dgm:pt>
    <dgm:pt modelId="{8FDA92A6-7F3E-944A-8CB4-9242580083D3}" type="sibTrans" cxnId="{5DBEB98B-738C-ED4F-AD67-E2390B57594D}">
      <dgm:prSet/>
      <dgm:spPr/>
      <dgm:t>
        <a:bodyPr/>
        <a:lstStyle/>
        <a:p>
          <a:endParaRPr lang="en-US" sz="2800" b="1"/>
        </a:p>
      </dgm:t>
    </dgm:pt>
    <dgm:pt modelId="{3C53D9CB-B49A-1041-B36E-C876B26C0664}">
      <dgm:prSet custT="1"/>
      <dgm:spPr/>
      <dgm:t>
        <a:bodyPr/>
        <a:lstStyle/>
        <a:p>
          <a:r>
            <a:rPr lang="en-US" sz="1000" b="1" dirty="0"/>
            <a:t>Fault tolerance </a:t>
          </a:r>
        </a:p>
      </dgm:t>
    </dgm:pt>
    <dgm:pt modelId="{9C1B7D37-0A7C-4146-A31B-21D8316E2833}" type="parTrans" cxnId="{107154C8-A30F-114D-8393-F817D0900E82}">
      <dgm:prSet/>
      <dgm:spPr/>
      <dgm:t>
        <a:bodyPr/>
        <a:lstStyle/>
        <a:p>
          <a:endParaRPr lang="en-US" sz="2800" b="1"/>
        </a:p>
      </dgm:t>
    </dgm:pt>
    <dgm:pt modelId="{A56BD4CF-F2CB-3D42-B050-868112FD307A}" type="sibTrans" cxnId="{107154C8-A30F-114D-8393-F817D0900E82}">
      <dgm:prSet/>
      <dgm:spPr/>
      <dgm:t>
        <a:bodyPr/>
        <a:lstStyle/>
        <a:p>
          <a:endParaRPr lang="en-US" sz="2800" b="1"/>
        </a:p>
      </dgm:t>
    </dgm:pt>
    <dgm:pt modelId="{00D42E72-3F24-5446-A532-B962CD556993}">
      <dgm:prSet custT="1"/>
      <dgm:spPr/>
      <dgm:t>
        <a:bodyPr/>
        <a:lstStyle/>
        <a:p>
          <a:r>
            <a:rPr lang="en-US" sz="1200" b="1" dirty="0"/>
            <a:t>Security </a:t>
          </a:r>
        </a:p>
      </dgm:t>
    </dgm:pt>
    <dgm:pt modelId="{018CBCAC-7E13-DC4B-ABAF-4151D091C23E}" type="parTrans" cxnId="{5FE271AD-91AB-E540-8168-456A5C5F4FCA}">
      <dgm:prSet/>
      <dgm:spPr/>
      <dgm:t>
        <a:bodyPr/>
        <a:lstStyle/>
        <a:p>
          <a:endParaRPr lang="en-US" sz="2800" b="1"/>
        </a:p>
      </dgm:t>
    </dgm:pt>
    <dgm:pt modelId="{159A85A7-45FC-764B-8BDD-34079D757EA7}" type="sibTrans" cxnId="{5FE271AD-91AB-E540-8168-456A5C5F4FCA}">
      <dgm:prSet/>
      <dgm:spPr/>
      <dgm:t>
        <a:bodyPr/>
        <a:lstStyle/>
        <a:p>
          <a:endParaRPr lang="en-US" sz="2800" b="1"/>
        </a:p>
      </dgm:t>
    </dgm:pt>
    <dgm:pt modelId="{A6D7EFB5-A92E-044B-B43F-51922C0DC9A0}">
      <dgm:prSet custT="1"/>
      <dgm:spPr/>
      <dgm:t>
        <a:bodyPr/>
        <a:lstStyle/>
        <a:p>
          <a:r>
            <a:rPr lang="en-US" sz="1000" b="1"/>
            <a:t>Integrity </a:t>
          </a:r>
          <a:endParaRPr lang="en-US" sz="1000" b="1" dirty="0"/>
        </a:p>
      </dgm:t>
    </dgm:pt>
    <dgm:pt modelId="{457D7804-6648-244C-B977-5FFA990152B3}" type="parTrans" cxnId="{1E6AFF6D-FD10-F540-B9E2-6756D4679939}">
      <dgm:prSet/>
      <dgm:spPr/>
      <dgm:t>
        <a:bodyPr/>
        <a:lstStyle/>
        <a:p>
          <a:endParaRPr lang="en-US" sz="2800" b="1"/>
        </a:p>
      </dgm:t>
    </dgm:pt>
    <dgm:pt modelId="{58A1200A-74DE-DC4C-BAC0-FA8EE5C767D2}" type="sibTrans" cxnId="{1E6AFF6D-FD10-F540-B9E2-6756D4679939}">
      <dgm:prSet/>
      <dgm:spPr/>
      <dgm:t>
        <a:bodyPr/>
        <a:lstStyle/>
        <a:p>
          <a:endParaRPr lang="en-US" sz="2800" b="1"/>
        </a:p>
      </dgm:t>
    </dgm:pt>
    <dgm:pt modelId="{69292C06-EF1C-1D4C-A419-4BBF1A78C12B}">
      <dgm:prSet custT="1"/>
      <dgm:spPr/>
      <dgm:t>
        <a:bodyPr/>
        <a:lstStyle/>
        <a:p>
          <a:r>
            <a:rPr lang="en-US" sz="1000" b="1"/>
            <a:t>Confidential-ity</a:t>
          </a:r>
          <a:endParaRPr lang="en-US" sz="1000" b="1" dirty="0"/>
        </a:p>
      </dgm:t>
    </dgm:pt>
    <dgm:pt modelId="{7F9F97BE-5130-EC47-A26F-5CE7B8699020}" type="parTrans" cxnId="{771C1A6A-AF9B-F14A-ABCF-24B1ABDA5FE1}">
      <dgm:prSet/>
      <dgm:spPr/>
      <dgm:t>
        <a:bodyPr/>
        <a:lstStyle/>
        <a:p>
          <a:endParaRPr lang="en-US" sz="2800" b="1"/>
        </a:p>
      </dgm:t>
    </dgm:pt>
    <dgm:pt modelId="{11D7078B-256A-0541-9889-01991EA840FB}" type="sibTrans" cxnId="{771C1A6A-AF9B-F14A-ABCF-24B1ABDA5FE1}">
      <dgm:prSet/>
      <dgm:spPr/>
      <dgm:t>
        <a:bodyPr/>
        <a:lstStyle/>
        <a:p>
          <a:endParaRPr lang="en-US" sz="2800" b="1"/>
        </a:p>
      </dgm:t>
    </dgm:pt>
    <dgm:pt modelId="{054BC13C-9C64-9E41-9173-145D9B78BD94}">
      <dgm:prSet custT="1"/>
      <dgm:spPr/>
      <dgm:t>
        <a:bodyPr/>
        <a:lstStyle/>
        <a:p>
          <a:r>
            <a:rPr lang="en-US" sz="1000" b="1"/>
            <a:t>Non-repudiation</a:t>
          </a:r>
          <a:endParaRPr lang="en-US" sz="1000" b="1" dirty="0"/>
        </a:p>
      </dgm:t>
    </dgm:pt>
    <dgm:pt modelId="{2BB9B9E4-5FE5-D147-BAFC-E8ED24A73C6D}" type="parTrans" cxnId="{B7903AE4-8E49-024E-B1CD-62002BD104ED}">
      <dgm:prSet/>
      <dgm:spPr/>
      <dgm:t>
        <a:bodyPr/>
        <a:lstStyle/>
        <a:p>
          <a:endParaRPr lang="en-US" sz="2800" b="1"/>
        </a:p>
      </dgm:t>
    </dgm:pt>
    <dgm:pt modelId="{E99AEB17-6B59-8941-83C7-A066A176A5C1}" type="sibTrans" cxnId="{B7903AE4-8E49-024E-B1CD-62002BD104ED}">
      <dgm:prSet/>
      <dgm:spPr/>
      <dgm:t>
        <a:bodyPr/>
        <a:lstStyle/>
        <a:p>
          <a:endParaRPr lang="en-US" sz="2800" b="1"/>
        </a:p>
      </dgm:t>
    </dgm:pt>
    <dgm:pt modelId="{E18C2833-A402-AE40-AFC4-1A0012C0626B}">
      <dgm:prSet custT="1"/>
      <dgm:spPr/>
      <dgm:t>
        <a:bodyPr/>
        <a:lstStyle/>
        <a:p>
          <a:r>
            <a:rPr lang="en-US" sz="1000" b="1"/>
            <a:t>Accountab-ility</a:t>
          </a:r>
          <a:endParaRPr lang="en-US" sz="1000" b="1" dirty="0"/>
        </a:p>
      </dgm:t>
    </dgm:pt>
    <dgm:pt modelId="{5A68C619-65D3-114E-9776-3746F139E5CA}" type="parTrans" cxnId="{5E14102D-7084-FA4C-AAEB-7A45B235F0D7}">
      <dgm:prSet/>
      <dgm:spPr/>
      <dgm:t>
        <a:bodyPr/>
        <a:lstStyle/>
        <a:p>
          <a:endParaRPr lang="en-US" sz="2800" b="1"/>
        </a:p>
      </dgm:t>
    </dgm:pt>
    <dgm:pt modelId="{42B1A76F-E8A5-F741-9656-0220FB356D62}" type="sibTrans" cxnId="{5E14102D-7084-FA4C-AAEB-7A45B235F0D7}">
      <dgm:prSet/>
      <dgm:spPr/>
      <dgm:t>
        <a:bodyPr/>
        <a:lstStyle/>
        <a:p>
          <a:endParaRPr lang="en-US" sz="2800" b="1"/>
        </a:p>
      </dgm:t>
    </dgm:pt>
    <dgm:pt modelId="{3249E403-7B42-E041-AB57-0829AE25A092}">
      <dgm:prSet custT="1"/>
      <dgm:spPr/>
      <dgm:t>
        <a:bodyPr/>
        <a:lstStyle/>
        <a:p>
          <a:r>
            <a:rPr lang="en-US" sz="1000" b="1"/>
            <a:t>Authent-icity</a:t>
          </a:r>
          <a:endParaRPr lang="en-US" sz="1000" b="1" dirty="0"/>
        </a:p>
      </dgm:t>
    </dgm:pt>
    <dgm:pt modelId="{A5B5B806-C405-5C4C-8827-00133AAE07B2}" type="parTrans" cxnId="{4544BC6D-CC7F-2D44-8851-9CD7A2C4CDC3}">
      <dgm:prSet/>
      <dgm:spPr/>
      <dgm:t>
        <a:bodyPr/>
        <a:lstStyle/>
        <a:p>
          <a:endParaRPr lang="en-US" sz="2800" b="1"/>
        </a:p>
      </dgm:t>
    </dgm:pt>
    <dgm:pt modelId="{98164AA1-8FDF-1F4F-B189-E9577350CB76}" type="sibTrans" cxnId="{4544BC6D-CC7F-2D44-8851-9CD7A2C4CDC3}">
      <dgm:prSet/>
      <dgm:spPr/>
      <dgm:t>
        <a:bodyPr/>
        <a:lstStyle/>
        <a:p>
          <a:endParaRPr lang="en-US" sz="2800" b="1"/>
        </a:p>
      </dgm:t>
    </dgm:pt>
    <dgm:pt modelId="{7A93B62C-5C6F-AC4F-8A7C-ED6B585841C1}">
      <dgm:prSet custT="1"/>
      <dgm:spPr/>
      <dgm:t>
        <a:bodyPr/>
        <a:lstStyle/>
        <a:p>
          <a:r>
            <a:rPr lang="en-US" sz="1200" b="1" dirty="0"/>
            <a:t>Maintain-ability</a:t>
          </a:r>
        </a:p>
      </dgm:t>
    </dgm:pt>
    <dgm:pt modelId="{209C471E-D42A-FA46-93C8-24BE0E89AD9A}" type="parTrans" cxnId="{58FB9503-7E52-BC44-A1F9-12574B538CBE}">
      <dgm:prSet/>
      <dgm:spPr/>
      <dgm:t>
        <a:bodyPr/>
        <a:lstStyle/>
        <a:p>
          <a:endParaRPr lang="en-US" sz="2800" b="1"/>
        </a:p>
      </dgm:t>
    </dgm:pt>
    <dgm:pt modelId="{2C9C703C-A18F-5A4C-819B-12AE8BD3C33E}" type="sibTrans" cxnId="{58FB9503-7E52-BC44-A1F9-12574B538CBE}">
      <dgm:prSet/>
      <dgm:spPr/>
      <dgm:t>
        <a:bodyPr/>
        <a:lstStyle/>
        <a:p>
          <a:endParaRPr lang="en-US" sz="2800" b="1"/>
        </a:p>
      </dgm:t>
    </dgm:pt>
    <dgm:pt modelId="{95F28B24-1712-6849-B4D1-E5648E216B92}">
      <dgm:prSet custT="1"/>
      <dgm:spPr/>
      <dgm:t>
        <a:bodyPr/>
        <a:lstStyle/>
        <a:p>
          <a:r>
            <a:rPr lang="en-US" sz="1000" b="1"/>
            <a:t>Modularity</a:t>
          </a:r>
          <a:endParaRPr lang="en-US" sz="1000" b="1" dirty="0"/>
        </a:p>
      </dgm:t>
    </dgm:pt>
    <dgm:pt modelId="{6FA5CCA6-E064-CA4E-A237-3841FE7B18E9}" type="parTrans" cxnId="{6446CAE3-D817-F244-A5BF-7012A89501D4}">
      <dgm:prSet/>
      <dgm:spPr/>
      <dgm:t>
        <a:bodyPr/>
        <a:lstStyle/>
        <a:p>
          <a:endParaRPr lang="en-US" sz="2800" b="1"/>
        </a:p>
      </dgm:t>
    </dgm:pt>
    <dgm:pt modelId="{85060FCB-9889-A04A-A20E-FA173D032DFF}" type="sibTrans" cxnId="{6446CAE3-D817-F244-A5BF-7012A89501D4}">
      <dgm:prSet/>
      <dgm:spPr/>
      <dgm:t>
        <a:bodyPr/>
        <a:lstStyle/>
        <a:p>
          <a:endParaRPr lang="en-US" sz="2800" b="1"/>
        </a:p>
      </dgm:t>
    </dgm:pt>
    <dgm:pt modelId="{4EE57A1C-0DB5-1F49-B834-B315C0F65072}">
      <dgm:prSet custT="1"/>
      <dgm:spPr/>
      <dgm:t>
        <a:bodyPr/>
        <a:lstStyle/>
        <a:p>
          <a:r>
            <a:rPr lang="en-US" sz="1000" b="1" dirty="0" err="1"/>
            <a:t>Reuseability</a:t>
          </a:r>
          <a:endParaRPr lang="en-US" sz="1000" b="1" dirty="0"/>
        </a:p>
      </dgm:t>
    </dgm:pt>
    <dgm:pt modelId="{EC44253B-0648-334C-A54A-72CE77C60696}" type="parTrans" cxnId="{3E7EFA84-5E35-C846-8C47-63D027B2E805}">
      <dgm:prSet/>
      <dgm:spPr/>
      <dgm:t>
        <a:bodyPr/>
        <a:lstStyle/>
        <a:p>
          <a:endParaRPr lang="en-US" sz="2800" b="1"/>
        </a:p>
      </dgm:t>
    </dgm:pt>
    <dgm:pt modelId="{629D1C23-38C7-5F40-A941-195B4EBC56DE}" type="sibTrans" cxnId="{3E7EFA84-5E35-C846-8C47-63D027B2E805}">
      <dgm:prSet/>
      <dgm:spPr/>
      <dgm:t>
        <a:bodyPr/>
        <a:lstStyle/>
        <a:p>
          <a:endParaRPr lang="en-US" sz="2800" b="1"/>
        </a:p>
      </dgm:t>
    </dgm:pt>
    <dgm:pt modelId="{95CB294F-A2D2-EE47-AB33-C7A9CB36A488}">
      <dgm:prSet custT="1"/>
      <dgm:spPr/>
      <dgm:t>
        <a:bodyPr/>
        <a:lstStyle/>
        <a:p>
          <a:r>
            <a:rPr lang="en-US" sz="1000" b="1" dirty="0" err="1"/>
            <a:t>Modifiab-ility</a:t>
          </a:r>
          <a:endParaRPr lang="en-US" sz="1000" b="1" dirty="0"/>
        </a:p>
      </dgm:t>
    </dgm:pt>
    <dgm:pt modelId="{5354B16A-E11E-1D48-AAFB-7D240D6642F5}" type="parTrans" cxnId="{174E45C5-3B6F-E94E-9A87-07B24C3F8DEE}">
      <dgm:prSet/>
      <dgm:spPr/>
      <dgm:t>
        <a:bodyPr/>
        <a:lstStyle/>
        <a:p>
          <a:endParaRPr lang="en-US" sz="2800" b="1"/>
        </a:p>
      </dgm:t>
    </dgm:pt>
    <dgm:pt modelId="{1EC4D161-9293-3849-AB95-3B40B45A1BB7}" type="sibTrans" cxnId="{174E45C5-3B6F-E94E-9A87-07B24C3F8DEE}">
      <dgm:prSet/>
      <dgm:spPr/>
      <dgm:t>
        <a:bodyPr/>
        <a:lstStyle/>
        <a:p>
          <a:endParaRPr lang="en-US" sz="2800" b="1"/>
        </a:p>
      </dgm:t>
    </dgm:pt>
    <dgm:pt modelId="{A8A21FA9-2703-0548-B6F7-AD6E73BDA1AE}">
      <dgm:prSet custT="1"/>
      <dgm:spPr/>
      <dgm:t>
        <a:bodyPr/>
        <a:lstStyle/>
        <a:p>
          <a:r>
            <a:rPr lang="en-US" sz="1000" b="1" dirty="0"/>
            <a:t>Testability</a:t>
          </a:r>
        </a:p>
      </dgm:t>
    </dgm:pt>
    <dgm:pt modelId="{C464E591-CEA1-414D-AB66-7269B863E3A7}" type="parTrans" cxnId="{9C44E8B8-8AD9-374F-AB5A-E0DFD97DEBC9}">
      <dgm:prSet/>
      <dgm:spPr/>
      <dgm:t>
        <a:bodyPr/>
        <a:lstStyle/>
        <a:p>
          <a:endParaRPr lang="en-US" sz="2800" b="1"/>
        </a:p>
      </dgm:t>
    </dgm:pt>
    <dgm:pt modelId="{AAE35E0D-BBED-974A-8345-D01C85A9A5C3}" type="sibTrans" cxnId="{9C44E8B8-8AD9-374F-AB5A-E0DFD97DEBC9}">
      <dgm:prSet/>
      <dgm:spPr/>
      <dgm:t>
        <a:bodyPr/>
        <a:lstStyle/>
        <a:p>
          <a:endParaRPr lang="en-US" sz="2800" b="1"/>
        </a:p>
      </dgm:t>
    </dgm:pt>
    <dgm:pt modelId="{E9A3D690-F538-1640-BA5A-DA7EF97EEB32}">
      <dgm:prSet custT="1"/>
      <dgm:spPr/>
      <dgm:t>
        <a:bodyPr/>
        <a:lstStyle/>
        <a:p>
          <a:r>
            <a:rPr lang="en-US" sz="1000" b="1" dirty="0" err="1"/>
            <a:t>Analyzab-ility</a:t>
          </a:r>
          <a:endParaRPr lang="en-US" sz="1000" b="1" dirty="0"/>
        </a:p>
      </dgm:t>
    </dgm:pt>
    <dgm:pt modelId="{971C1B5D-67F7-F748-8432-22B7AA5C243E}" type="parTrans" cxnId="{43692E34-E085-3749-8CF1-151B2F9F1C8E}">
      <dgm:prSet/>
      <dgm:spPr/>
      <dgm:t>
        <a:bodyPr/>
        <a:lstStyle/>
        <a:p>
          <a:endParaRPr lang="en-US" sz="2800" b="1"/>
        </a:p>
      </dgm:t>
    </dgm:pt>
    <dgm:pt modelId="{79022E51-1F17-8546-9AC8-3171512E16F1}" type="sibTrans" cxnId="{43692E34-E085-3749-8CF1-151B2F9F1C8E}">
      <dgm:prSet/>
      <dgm:spPr/>
      <dgm:t>
        <a:bodyPr/>
        <a:lstStyle/>
        <a:p>
          <a:endParaRPr lang="en-US" sz="2800" b="1"/>
        </a:p>
      </dgm:t>
    </dgm:pt>
    <dgm:pt modelId="{05F23BCB-22AA-E245-BA73-9BF467A5A01F}">
      <dgm:prSet custT="1"/>
      <dgm:spPr/>
      <dgm:t>
        <a:bodyPr/>
        <a:lstStyle/>
        <a:p>
          <a:r>
            <a:rPr lang="en-US" sz="1200" b="1" dirty="0"/>
            <a:t>Portability</a:t>
          </a:r>
        </a:p>
      </dgm:t>
    </dgm:pt>
    <dgm:pt modelId="{A7E108D9-D194-FE4F-8C1B-3BFABDB65787}" type="parTrans" cxnId="{0B966AC9-2325-1E4E-B0C8-2C19E55D858E}">
      <dgm:prSet/>
      <dgm:spPr/>
      <dgm:t>
        <a:bodyPr/>
        <a:lstStyle/>
        <a:p>
          <a:endParaRPr lang="en-US" sz="2800" b="1"/>
        </a:p>
      </dgm:t>
    </dgm:pt>
    <dgm:pt modelId="{5382DFFD-E064-1D40-BAEB-F6C25F6107AE}" type="sibTrans" cxnId="{0B966AC9-2325-1E4E-B0C8-2C19E55D858E}">
      <dgm:prSet/>
      <dgm:spPr/>
      <dgm:t>
        <a:bodyPr/>
        <a:lstStyle/>
        <a:p>
          <a:endParaRPr lang="en-US" sz="2800" b="1"/>
        </a:p>
      </dgm:t>
    </dgm:pt>
    <dgm:pt modelId="{8AE60BF9-091B-184E-9005-EF4555AA90DF}">
      <dgm:prSet custT="1"/>
      <dgm:spPr/>
      <dgm:t>
        <a:bodyPr/>
        <a:lstStyle/>
        <a:p>
          <a:r>
            <a:rPr lang="en-US" sz="1000" b="1" dirty="0" err="1"/>
            <a:t>Installability</a:t>
          </a:r>
          <a:endParaRPr lang="en-US" sz="1000" b="1" dirty="0"/>
        </a:p>
      </dgm:t>
    </dgm:pt>
    <dgm:pt modelId="{0AE37708-A5CF-DA4C-A40A-ADA98508CC23}" type="parTrans" cxnId="{4CA8B3A9-6F84-F745-A397-B2638DFF7FA3}">
      <dgm:prSet/>
      <dgm:spPr/>
      <dgm:t>
        <a:bodyPr/>
        <a:lstStyle/>
        <a:p>
          <a:endParaRPr lang="en-US" sz="2800" b="1"/>
        </a:p>
      </dgm:t>
    </dgm:pt>
    <dgm:pt modelId="{0DFAB878-B6EC-3647-9263-A4B3AB2CF447}" type="sibTrans" cxnId="{4CA8B3A9-6F84-F745-A397-B2638DFF7FA3}">
      <dgm:prSet/>
      <dgm:spPr/>
      <dgm:t>
        <a:bodyPr/>
        <a:lstStyle/>
        <a:p>
          <a:endParaRPr lang="en-US" sz="2800" b="1"/>
        </a:p>
      </dgm:t>
    </dgm:pt>
    <dgm:pt modelId="{A5365144-998A-224B-BF5C-39352B61A674}">
      <dgm:prSet custT="1"/>
      <dgm:spPr/>
      <dgm:t>
        <a:bodyPr/>
        <a:lstStyle/>
        <a:p>
          <a:r>
            <a:rPr lang="en-US" sz="1000" b="1" dirty="0"/>
            <a:t>Replace-ability</a:t>
          </a:r>
        </a:p>
      </dgm:t>
    </dgm:pt>
    <dgm:pt modelId="{A746390B-A82F-C64B-8145-6D27C88B0E24}" type="parTrans" cxnId="{9A9AB62D-7896-264C-9BC2-3B8F3619D125}">
      <dgm:prSet/>
      <dgm:spPr/>
      <dgm:t>
        <a:bodyPr/>
        <a:lstStyle/>
        <a:p>
          <a:endParaRPr lang="en-US" sz="2800" b="1"/>
        </a:p>
      </dgm:t>
    </dgm:pt>
    <dgm:pt modelId="{7745351C-F63F-B543-AA34-F2D3A0BE0513}" type="sibTrans" cxnId="{9A9AB62D-7896-264C-9BC2-3B8F3619D125}">
      <dgm:prSet/>
      <dgm:spPr/>
      <dgm:t>
        <a:bodyPr/>
        <a:lstStyle/>
        <a:p>
          <a:endParaRPr lang="en-US" sz="2800" b="1"/>
        </a:p>
      </dgm:t>
    </dgm:pt>
    <dgm:pt modelId="{F9D126EF-BE2E-7746-9348-9E369FE47AFA}">
      <dgm:prSet custT="1"/>
      <dgm:spPr/>
      <dgm:t>
        <a:bodyPr/>
        <a:lstStyle/>
        <a:p>
          <a:r>
            <a:rPr lang="en-US" sz="1000" b="1" dirty="0"/>
            <a:t>Adaptability</a:t>
          </a:r>
        </a:p>
      </dgm:t>
    </dgm:pt>
    <dgm:pt modelId="{4B304EE6-B53F-644F-9D12-5306178C6031}" type="parTrans" cxnId="{F81AF2BF-4375-184B-86A7-1E8B65375CB8}">
      <dgm:prSet/>
      <dgm:spPr/>
      <dgm:t>
        <a:bodyPr/>
        <a:lstStyle/>
        <a:p>
          <a:endParaRPr lang="en-US" sz="2800" b="1"/>
        </a:p>
      </dgm:t>
    </dgm:pt>
    <dgm:pt modelId="{C6F6394C-4393-E447-822F-CF280956CC95}" type="sibTrans" cxnId="{F81AF2BF-4375-184B-86A7-1E8B65375CB8}">
      <dgm:prSet/>
      <dgm:spPr/>
      <dgm:t>
        <a:bodyPr/>
        <a:lstStyle/>
        <a:p>
          <a:endParaRPr lang="en-US" sz="2800" b="1"/>
        </a:p>
      </dgm:t>
    </dgm:pt>
    <dgm:pt modelId="{3DA2996A-B9CC-754B-A3CD-41FF8722C935}" type="pres">
      <dgm:prSet presAssocID="{F1F5D922-A647-5945-89E1-2B1158E87E7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9755A37-50D0-544F-94E1-A8554908B9C7}" type="pres">
      <dgm:prSet presAssocID="{41DCB497-4F67-7240-B1C3-DED53DF245ED}" presName="root" presStyleCnt="0"/>
      <dgm:spPr/>
    </dgm:pt>
    <dgm:pt modelId="{1BEAEB11-0E14-4840-BD0C-C5D28780C2E3}" type="pres">
      <dgm:prSet presAssocID="{41DCB497-4F67-7240-B1C3-DED53DF245ED}" presName="rootComposite" presStyleCnt="0"/>
      <dgm:spPr/>
    </dgm:pt>
    <dgm:pt modelId="{845ED3E6-51AD-1641-949A-0F65BC3E9D79}" type="pres">
      <dgm:prSet presAssocID="{41DCB497-4F67-7240-B1C3-DED53DF245ED}" presName="rootText" presStyleLbl="node1" presStyleIdx="0" presStyleCnt="8"/>
      <dgm:spPr/>
    </dgm:pt>
    <dgm:pt modelId="{79B777F2-00FE-FA4D-9CF1-63BDC88ED8C0}" type="pres">
      <dgm:prSet presAssocID="{41DCB497-4F67-7240-B1C3-DED53DF245ED}" presName="rootConnector" presStyleLbl="node1" presStyleIdx="0" presStyleCnt="8"/>
      <dgm:spPr/>
    </dgm:pt>
    <dgm:pt modelId="{B8CE6112-F86D-E849-B514-086069D887CB}" type="pres">
      <dgm:prSet presAssocID="{41DCB497-4F67-7240-B1C3-DED53DF245ED}" presName="childShape" presStyleCnt="0"/>
      <dgm:spPr/>
    </dgm:pt>
    <dgm:pt modelId="{CEEA02DB-4226-0A4E-9CEE-E4DF1468D4FA}" type="pres">
      <dgm:prSet presAssocID="{05D8882D-F16D-AB43-A3F3-30720E7BFBE0}" presName="Name13" presStyleLbl="parChTrans1D2" presStyleIdx="0" presStyleCnt="27"/>
      <dgm:spPr/>
    </dgm:pt>
    <dgm:pt modelId="{FE0B66B4-D0F6-534A-9FA4-5FFE3999714B}" type="pres">
      <dgm:prSet presAssocID="{53C1FC7C-FB8B-ED43-B796-B56D223ECB81}" presName="childText" presStyleLbl="bgAcc1" presStyleIdx="0" presStyleCnt="27">
        <dgm:presLayoutVars>
          <dgm:bulletEnabled val="1"/>
        </dgm:presLayoutVars>
      </dgm:prSet>
      <dgm:spPr/>
    </dgm:pt>
    <dgm:pt modelId="{0D1F2A58-F3A6-2749-A21E-35A839943671}" type="pres">
      <dgm:prSet presAssocID="{136354CD-7547-0F40-90F8-3C436C8B34AB}" presName="Name13" presStyleLbl="parChTrans1D2" presStyleIdx="1" presStyleCnt="27"/>
      <dgm:spPr/>
    </dgm:pt>
    <dgm:pt modelId="{73301F81-1F1D-3F46-B392-A59C2C4C807C}" type="pres">
      <dgm:prSet presAssocID="{444FF2BE-46A6-0C4D-9D6A-8EF2ABCAD744}" presName="childText" presStyleLbl="bgAcc1" presStyleIdx="1" presStyleCnt="27">
        <dgm:presLayoutVars>
          <dgm:bulletEnabled val="1"/>
        </dgm:presLayoutVars>
      </dgm:prSet>
      <dgm:spPr/>
    </dgm:pt>
    <dgm:pt modelId="{F25706D1-68D7-8C43-A6D7-5B86169F3E21}" type="pres">
      <dgm:prSet presAssocID="{E876EA2D-293D-BC4A-A196-3712A4F5CDB1}" presName="Name13" presStyleLbl="parChTrans1D2" presStyleIdx="2" presStyleCnt="27"/>
      <dgm:spPr/>
    </dgm:pt>
    <dgm:pt modelId="{DDD7714F-70F6-4041-A377-C7AF7CC48C51}" type="pres">
      <dgm:prSet presAssocID="{FD4DD728-38B2-774B-93E8-0922AD3E17ED}" presName="childText" presStyleLbl="bgAcc1" presStyleIdx="2" presStyleCnt="27">
        <dgm:presLayoutVars>
          <dgm:bulletEnabled val="1"/>
        </dgm:presLayoutVars>
      </dgm:prSet>
      <dgm:spPr/>
    </dgm:pt>
    <dgm:pt modelId="{F6F0469B-1C50-4B4D-BF68-CF7F3D49A7AC}" type="pres">
      <dgm:prSet presAssocID="{2F9FF1B4-EA6C-7C4A-A81D-BD01257A79E7}" presName="root" presStyleCnt="0"/>
      <dgm:spPr/>
    </dgm:pt>
    <dgm:pt modelId="{769E2691-6716-7D43-9378-8323DC986804}" type="pres">
      <dgm:prSet presAssocID="{2F9FF1B4-EA6C-7C4A-A81D-BD01257A79E7}" presName="rootComposite" presStyleCnt="0"/>
      <dgm:spPr/>
    </dgm:pt>
    <dgm:pt modelId="{BA133919-C9B4-1F46-8D96-28E5A05EB3DE}" type="pres">
      <dgm:prSet presAssocID="{2F9FF1B4-EA6C-7C4A-A81D-BD01257A79E7}" presName="rootText" presStyleLbl="node1" presStyleIdx="1" presStyleCnt="8"/>
      <dgm:spPr/>
    </dgm:pt>
    <dgm:pt modelId="{C1CC0758-1E89-014B-BCA6-B412B5096445}" type="pres">
      <dgm:prSet presAssocID="{2F9FF1B4-EA6C-7C4A-A81D-BD01257A79E7}" presName="rootConnector" presStyleLbl="node1" presStyleIdx="1" presStyleCnt="8"/>
      <dgm:spPr/>
    </dgm:pt>
    <dgm:pt modelId="{E2153473-BC31-5845-A6D5-1BA6957C2C0E}" type="pres">
      <dgm:prSet presAssocID="{2F9FF1B4-EA6C-7C4A-A81D-BD01257A79E7}" presName="childShape" presStyleCnt="0"/>
      <dgm:spPr/>
    </dgm:pt>
    <dgm:pt modelId="{A9557D1F-C5B3-4E4A-8CE5-F4F68D65AEEB}" type="pres">
      <dgm:prSet presAssocID="{EE9B1C0E-FF5B-F64D-97DA-1EFCDC6AC4F0}" presName="Name13" presStyleLbl="parChTrans1D2" presStyleIdx="3" presStyleCnt="27"/>
      <dgm:spPr/>
    </dgm:pt>
    <dgm:pt modelId="{79124905-5F4B-C442-AA9D-A554D067E1CE}" type="pres">
      <dgm:prSet presAssocID="{FDAB69C9-3BA5-8240-A3EA-4A596500E358}" presName="childText" presStyleLbl="bgAcc1" presStyleIdx="3" presStyleCnt="27">
        <dgm:presLayoutVars>
          <dgm:bulletEnabled val="1"/>
        </dgm:presLayoutVars>
      </dgm:prSet>
      <dgm:spPr/>
    </dgm:pt>
    <dgm:pt modelId="{8AECC5BC-2112-6C47-BA97-C703B279B190}" type="pres">
      <dgm:prSet presAssocID="{3E784F15-FAE9-BB49-95C5-CAC859C56617}" presName="Name13" presStyleLbl="parChTrans1D2" presStyleIdx="4" presStyleCnt="27"/>
      <dgm:spPr/>
    </dgm:pt>
    <dgm:pt modelId="{6023BBE9-C729-A74F-9B11-823A1A565C70}" type="pres">
      <dgm:prSet presAssocID="{299096F4-3ED2-8C4A-9186-AB4A03B8C0C6}" presName="childText" presStyleLbl="bgAcc1" presStyleIdx="4" presStyleCnt="27">
        <dgm:presLayoutVars>
          <dgm:bulletEnabled val="1"/>
        </dgm:presLayoutVars>
      </dgm:prSet>
      <dgm:spPr/>
    </dgm:pt>
    <dgm:pt modelId="{6A58B61E-B9B8-664C-AF64-AB9D200576BF}" type="pres">
      <dgm:prSet presAssocID="{9F0F78F8-60F2-FB40-ACE6-A8E46E10A1BB}" presName="Name13" presStyleLbl="parChTrans1D2" presStyleIdx="5" presStyleCnt="27"/>
      <dgm:spPr/>
    </dgm:pt>
    <dgm:pt modelId="{F8F89AFA-7427-B447-B5EA-897B3007A5D0}" type="pres">
      <dgm:prSet presAssocID="{2704C766-EA22-D046-80C0-C5A0AF66F85D}" presName="childText" presStyleLbl="bgAcc1" presStyleIdx="5" presStyleCnt="27">
        <dgm:presLayoutVars>
          <dgm:bulletEnabled val="1"/>
        </dgm:presLayoutVars>
      </dgm:prSet>
      <dgm:spPr/>
    </dgm:pt>
    <dgm:pt modelId="{D5782773-546F-4B43-B653-C19630E96BA7}" type="pres">
      <dgm:prSet presAssocID="{8F051BCC-AB3B-394F-ADE0-550A8288E9D1}" presName="root" presStyleCnt="0"/>
      <dgm:spPr/>
    </dgm:pt>
    <dgm:pt modelId="{640E051F-BBD0-6741-9C3C-B97A7DCE4BF5}" type="pres">
      <dgm:prSet presAssocID="{8F051BCC-AB3B-394F-ADE0-550A8288E9D1}" presName="rootComposite" presStyleCnt="0"/>
      <dgm:spPr/>
    </dgm:pt>
    <dgm:pt modelId="{07B8B408-BBEA-5347-BC4A-13FA8D964551}" type="pres">
      <dgm:prSet presAssocID="{8F051BCC-AB3B-394F-ADE0-550A8288E9D1}" presName="rootText" presStyleLbl="node1" presStyleIdx="2" presStyleCnt="8"/>
      <dgm:spPr/>
    </dgm:pt>
    <dgm:pt modelId="{3EA10360-C008-6E4F-801E-D8671B796508}" type="pres">
      <dgm:prSet presAssocID="{8F051BCC-AB3B-394F-ADE0-550A8288E9D1}" presName="rootConnector" presStyleLbl="node1" presStyleIdx="2" presStyleCnt="8"/>
      <dgm:spPr/>
    </dgm:pt>
    <dgm:pt modelId="{4958449E-9195-834A-9D01-00FEC0F80FDB}" type="pres">
      <dgm:prSet presAssocID="{8F051BCC-AB3B-394F-ADE0-550A8288E9D1}" presName="childShape" presStyleCnt="0"/>
      <dgm:spPr/>
    </dgm:pt>
    <dgm:pt modelId="{9F877505-089D-AE47-A1F1-6C24D9394F4F}" type="pres">
      <dgm:prSet presAssocID="{224B842B-4E55-914D-977A-0FFA6511356C}" presName="Name13" presStyleLbl="parChTrans1D2" presStyleIdx="6" presStyleCnt="27"/>
      <dgm:spPr/>
    </dgm:pt>
    <dgm:pt modelId="{6FE81644-B710-2848-8BE0-2E9C1E143939}" type="pres">
      <dgm:prSet presAssocID="{598FE064-F072-2E43-BEAE-80E649AEA9AE}" presName="childText" presStyleLbl="bgAcc1" presStyleIdx="6" presStyleCnt="27">
        <dgm:presLayoutVars>
          <dgm:bulletEnabled val="1"/>
        </dgm:presLayoutVars>
      </dgm:prSet>
      <dgm:spPr/>
    </dgm:pt>
    <dgm:pt modelId="{40E2CB40-9B00-E748-B505-5DD3E635E558}" type="pres">
      <dgm:prSet presAssocID="{7E0FC8F8-EB3C-C748-BAEB-624230241256}" presName="Name13" presStyleLbl="parChTrans1D2" presStyleIdx="7" presStyleCnt="27"/>
      <dgm:spPr/>
    </dgm:pt>
    <dgm:pt modelId="{3632657C-BFC7-224C-84FA-CA5FAF7AD56D}" type="pres">
      <dgm:prSet presAssocID="{E6E223AD-5E94-2440-8F3B-B6DE336C4CEC}" presName="childText" presStyleLbl="bgAcc1" presStyleIdx="7" presStyleCnt="27">
        <dgm:presLayoutVars>
          <dgm:bulletEnabled val="1"/>
        </dgm:presLayoutVars>
      </dgm:prSet>
      <dgm:spPr/>
    </dgm:pt>
    <dgm:pt modelId="{98B7D865-64B7-E34C-AC7A-85423EB28E74}" type="pres">
      <dgm:prSet presAssocID="{AC1C2011-E47F-F24C-8B7C-4E3BC1DFAB2D}" presName="root" presStyleCnt="0"/>
      <dgm:spPr/>
    </dgm:pt>
    <dgm:pt modelId="{6F698E34-A0C1-DB47-BA5F-E9ED61FC76FC}" type="pres">
      <dgm:prSet presAssocID="{AC1C2011-E47F-F24C-8B7C-4E3BC1DFAB2D}" presName="rootComposite" presStyleCnt="0"/>
      <dgm:spPr/>
    </dgm:pt>
    <dgm:pt modelId="{20E4A332-023C-354A-A82F-E68BD57D1F45}" type="pres">
      <dgm:prSet presAssocID="{AC1C2011-E47F-F24C-8B7C-4E3BC1DFAB2D}" presName="rootText" presStyleLbl="node1" presStyleIdx="3" presStyleCnt="8"/>
      <dgm:spPr/>
    </dgm:pt>
    <dgm:pt modelId="{8D2DA61F-636E-4C4F-917A-A69C97043AB4}" type="pres">
      <dgm:prSet presAssocID="{AC1C2011-E47F-F24C-8B7C-4E3BC1DFAB2D}" presName="rootConnector" presStyleLbl="node1" presStyleIdx="3" presStyleCnt="8"/>
      <dgm:spPr/>
    </dgm:pt>
    <dgm:pt modelId="{3D423C43-8A36-9449-8EE3-38CC78B49084}" type="pres">
      <dgm:prSet presAssocID="{AC1C2011-E47F-F24C-8B7C-4E3BC1DFAB2D}" presName="childShape" presStyleCnt="0"/>
      <dgm:spPr/>
    </dgm:pt>
    <dgm:pt modelId="{96C0B8AD-0DBD-D346-8EE3-09BFB11167B9}" type="pres">
      <dgm:prSet presAssocID="{BE09F905-F57D-3A41-B986-6174F9DE9EF6}" presName="Name13" presStyleLbl="parChTrans1D2" presStyleIdx="8" presStyleCnt="27"/>
      <dgm:spPr/>
    </dgm:pt>
    <dgm:pt modelId="{DA57115A-100A-0B4A-9BAC-ABEC59ABB382}" type="pres">
      <dgm:prSet presAssocID="{B0893E9D-79A1-714C-9815-3E92244E91ED}" presName="childText" presStyleLbl="bgAcc1" presStyleIdx="8" presStyleCnt="27">
        <dgm:presLayoutVars>
          <dgm:bulletEnabled val="1"/>
        </dgm:presLayoutVars>
      </dgm:prSet>
      <dgm:spPr/>
    </dgm:pt>
    <dgm:pt modelId="{DD922611-B3FD-504D-B7FB-01A6B7FC4849}" type="pres">
      <dgm:prSet presAssocID="{35DE522F-B866-F941-BC4D-91F450E2F441}" presName="Name13" presStyleLbl="parChTrans1D2" presStyleIdx="9" presStyleCnt="27"/>
      <dgm:spPr/>
    </dgm:pt>
    <dgm:pt modelId="{3394CABE-AB99-1C4A-B9C0-729743D086F2}" type="pres">
      <dgm:prSet presAssocID="{B38F1EE6-D813-644B-B80E-DC72FD03A0A2}" presName="childText" presStyleLbl="bgAcc1" presStyleIdx="9" presStyleCnt="27">
        <dgm:presLayoutVars>
          <dgm:bulletEnabled val="1"/>
        </dgm:presLayoutVars>
      </dgm:prSet>
      <dgm:spPr/>
    </dgm:pt>
    <dgm:pt modelId="{4EDD79EB-12A8-3845-8B34-819F37DDE97D}" type="pres">
      <dgm:prSet presAssocID="{0E8CD457-DF9A-854A-B772-A66C169B0588}" presName="root" presStyleCnt="0"/>
      <dgm:spPr/>
    </dgm:pt>
    <dgm:pt modelId="{5FD2D44A-9250-6242-A721-DECC9E950A9E}" type="pres">
      <dgm:prSet presAssocID="{0E8CD457-DF9A-854A-B772-A66C169B0588}" presName="rootComposite" presStyleCnt="0"/>
      <dgm:spPr/>
    </dgm:pt>
    <dgm:pt modelId="{8A3AFC21-FCDC-294F-83C4-28C57F26AA02}" type="pres">
      <dgm:prSet presAssocID="{0E8CD457-DF9A-854A-B772-A66C169B0588}" presName="rootText" presStyleLbl="node1" presStyleIdx="4" presStyleCnt="8"/>
      <dgm:spPr/>
    </dgm:pt>
    <dgm:pt modelId="{5627C395-5AEB-6049-AFCA-210CC7A007BA}" type="pres">
      <dgm:prSet presAssocID="{0E8CD457-DF9A-854A-B772-A66C169B0588}" presName="rootConnector" presStyleLbl="node1" presStyleIdx="4" presStyleCnt="8"/>
      <dgm:spPr/>
    </dgm:pt>
    <dgm:pt modelId="{B64C6DDD-FB4D-B245-AE67-CC0175529B3C}" type="pres">
      <dgm:prSet presAssocID="{0E8CD457-DF9A-854A-B772-A66C169B0588}" presName="childShape" presStyleCnt="0"/>
      <dgm:spPr/>
    </dgm:pt>
    <dgm:pt modelId="{E976EDA8-6C28-DE4A-87DF-710404B66FFB}" type="pres">
      <dgm:prSet presAssocID="{883F9595-6196-5F40-B439-137031A0CA92}" presName="Name13" presStyleLbl="parChTrans1D2" presStyleIdx="10" presStyleCnt="27"/>
      <dgm:spPr/>
    </dgm:pt>
    <dgm:pt modelId="{23B72943-9D2C-B447-9862-078C01E5CD48}" type="pres">
      <dgm:prSet presAssocID="{D01FFA2E-324C-4F44-8F5B-1D93BA14C37D}" presName="childText" presStyleLbl="bgAcc1" presStyleIdx="10" presStyleCnt="27">
        <dgm:presLayoutVars>
          <dgm:bulletEnabled val="1"/>
        </dgm:presLayoutVars>
      </dgm:prSet>
      <dgm:spPr/>
    </dgm:pt>
    <dgm:pt modelId="{9DD1C069-7EFF-BE4E-9BEF-C0171B20E754}" type="pres">
      <dgm:prSet presAssocID="{AE8F0254-C357-F34A-B5AE-12FF6C1B5C26}" presName="Name13" presStyleLbl="parChTrans1D2" presStyleIdx="11" presStyleCnt="27"/>
      <dgm:spPr/>
    </dgm:pt>
    <dgm:pt modelId="{14B23716-2CC8-5148-A061-F33F23804BE5}" type="pres">
      <dgm:prSet presAssocID="{16038EE6-6BF3-4B48-9980-ACC7A6420663}" presName="childText" presStyleLbl="bgAcc1" presStyleIdx="11" presStyleCnt="27">
        <dgm:presLayoutVars>
          <dgm:bulletEnabled val="1"/>
        </dgm:presLayoutVars>
      </dgm:prSet>
      <dgm:spPr/>
    </dgm:pt>
    <dgm:pt modelId="{B558153D-11A8-6142-B758-300ACA5246DD}" type="pres">
      <dgm:prSet presAssocID="{B41E6929-1A8C-EF44-A394-950681650A9E}" presName="Name13" presStyleLbl="parChTrans1D2" presStyleIdx="12" presStyleCnt="27"/>
      <dgm:spPr/>
    </dgm:pt>
    <dgm:pt modelId="{5F283CA6-EFED-9B45-B629-D2FA0BF4ADCB}" type="pres">
      <dgm:prSet presAssocID="{8DC7C76D-6C75-D742-A16F-9E797B71B627}" presName="childText" presStyleLbl="bgAcc1" presStyleIdx="12" presStyleCnt="27">
        <dgm:presLayoutVars>
          <dgm:bulletEnabled val="1"/>
        </dgm:presLayoutVars>
      </dgm:prSet>
      <dgm:spPr/>
    </dgm:pt>
    <dgm:pt modelId="{12865B71-5B1C-3140-BFB5-38937DC9BCE6}" type="pres">
      <dgm:prSet presAssocID="{9C1B7D37-0A7C-4146-A31B-21D8316E2833}" presName="Name13" presStyleLbl="parChTrans1D2" presStyleIdx="13" presStyleCnt="27"/>
      <dgm:spPr/>
    </dgm:pt>
    <dgm:pt modelId="{ABA92FFD-011E-CD40-84AF-075B95B64B93}" type="pres">
      <dgm:prSet presAssocID="{3C53D9CB-B49A-1041-B36E-C876B26C0664}" presName="childText" presStyleLbl="bgAcc1" presStyleIdx="13" presStyleCnt="27">
        <dgm:presLayoutVars>
          <dgm:bulletEnabled val="1"/>
        </dgm:presLayoutVars>
      </dgm:prSet>
      <dgm:spPr/>
    </dgm:pt>
    <dgm:pt modelId="{BA4AF88A-9F88-3B47-A7E0-FF47907435A1}" type="pres">
      <dgm:prSet presAssocID="{00D42E72-3F24-5446-A532-B962CD556993}" presName="root" presStyleCnt="0"/>
      <dgm:spPr/>
    </dgm:pt>
    <dgm:pt modelId="{73E51ADC-1E5D-264D-9298-5FB5C1963DAD}" type="pres">
      <dgm:prSet presAssocID="{00D42E72-3F24-5446-A532-B962CD556993}" presName="rootComposite" presStyleCnt="0"/>
      <dgm:spPr/>
    </dgm:pt>
    <dgm:pt modelId="{7C4B08AE-504D-5445-8927-ABADC132B1EA}" type="pres">
      <dgm:prSet presAssocID="{00D42E72-3F24-5446-A532-B962CD556993}" presName="rootText" presStyleLbl="node1" presStyleIdx="5" presStyleCnt="8"/>
      <dgm:spPr/>
    </dgm:pt>
    <dgm:pt modelId="{7E8E6DBD-621F-D641-8A93-A92DC836FF95}" type="pres">
      <dgm:prSet presAssocID="{00D42E72-3F24-5446-A532-B962CD556993}" presName="rootConnector" presStyleLbl="node1" presStyleIdx="5" presStyleCnt="8"/>
      <dgm:spPr/>
    </dgm:pt>
    <dgm:pt modelId="{51D245AE-8965-5241-B830-73449F62C854}" type="pres">
      <dgm:prSet presAssocID="{00D42E72-3F24-5446-A532-B962CD556993}" presName="childShape" presStyleCnt="0"/>
      <dgm:spPr/>
    </dgm:pt>
    <dgm:pt modelId="{6C7CCA5F-C27C-C242-A47B-5B9938F66569}" type="pres">
      <dgm:prSet presAssocID="{457D7804-6648-244C-B977-5FFA990152B3}" presName="Name13" presStyleLbl="parChTrans1D2" presStyleIdx="14" presStyleCnt="27"/>
      <dgm:spPr/>
    </dgm:pt>
    <dgm:pt modelId="{9B3581C4-2FD4-694B-98B7-571A5B50C826}" type="pres">
      <dgm:prSet presAssocID="{A6D7EFB5-A92E-044B-B43F-51922C0DC9A0}" presName="childText" presStyleLbl="bgAcc1" presStyleIdx="14" presStyleCnt="27">
        <dgm:presLayoutVars>
          <dgm:bulletEnabled val="1"/>
        </dgm:presLayoutVars>
      </dgm:prSet>
      <dgm:spPr/>
    </dgm:pt>
    <dgm:pt modelId="{4236FFC8-1C6E-D94D-BE64-0D9C3F213F9C}" type="pres">
      <dgm:prSet presAssocID="{7F9F97BE-5130-EC47-A26F-5CE7B8699020}" presName="Name13" presStyleLbl="parChTrans1D2" presStyleIdx="15" presStyleCnt="27"/>
      <dgm:spPr/>
    </dgm:pt>
    <dgm:pt modelId="{997B334E-E3E7-484A-94FD-9FE98B06E5D3}" type="pres">
      <dgm:prSet presAssocID="{69292C06-EF1C-1D4C-A419-4BBF1A78C12B}" presName="childText" presStyleLbl="bgAcc1" presStyleIdx="15" presStyleCnt="27">
        <dgm:presLayoutVars>
          <dgm:bulletEnabled val="1"/>
        </dgm:presLayoutVars>
      </dgm:prSet>
      <dgm:spPr/>
    </dgm:pt>
    <dgm:pt modelId="{1F173F23-D7E9-2140-98A9-81B7F6662385}" type="pres">
      <dgm:prSet presAssocID="{2BB9B9E4-5FE5-D147-BAFC-E8ED24A73C6D}" presName="Name13" presStyleLbl="parChTrans1D2" presStyleIdx="16" presStyleCnt="27"/>
      <dgm:spPr/>
    </dgm:pt>
    <dgm:pt modelId="{EE3028E2-F2A6-A548-A078-22AA4CF2097D}" type="pres">
      <dgm:prSet presAssocID="{054BC13C-9C64-9E41-9173-145D9B78BD94}" presName="childText" presStyleLbl="bgAcc1" presStyleIdx="16" presStyleCnt="27">
        <dgm:presLayoutVars>
          <dgm:bulletEnabled val="1"/>
        </dgm:presLayoutVars>
      </dgm:prSet>
      <dgm:spPr/>
    </dgm:pt>
    <dgm:pt modelId="{35EA8B6E-7CBA-3C46-ACBA-B28BF59A2486}" type="pres">
      <dgm:prSet presAssocID="{5A68C619-65D3-114E-9776-3746F139E5CA}" presName="Name13" presStyleLbl="parChTrans1D2" presStyleIdx="17" presStyleCnt="27"/>
      <dgm:spPr/>
    </dgm:pt>
    <dgm:pt modelId="{092E03E6-0390-364F-B243-BCD0C52801E2}" type="pres">
      <dgm:prSet presAssocID="{E18C2833-A402-AE40-AFC4-1A0012C0626B}" presName="childText" presStyleLbl="bgAcc1" presStyleIdx="17" presStyleCnt="27">
        <dgm:presLayoutVars>
          <dgm:bulletEnabled val="1"/>
        </dgm:presLayoutVars>
      </dgm:prSet>
      <dgm:spPr/>
    </dgm:pt>
    <dgm:pt modelId="{5E914F32-FE04-9D4B-B1A1-C47F3DB5E6F2}" type="pres">
      <dgm:prSet presAssocID="{A5B5B806-C405-5C4C-8827-00133AAE07B2}" presName="Name13" presStyleLbl="parChTrans1D2" presStyleIdx="18" presStyleCnt="27"/>
      <dgm:spPr/>
    </dgm:pt>
    <dgm:pt modelId="{CC575E2B-BF36-C244-BFA9-0A26DD34CB23}" type="pres">
      <dgm:prSet presAssocID="{3249E403-7B42-E041-AB57-0829AE25A092}" presName="childText" presStyleLbl="bgAcc1" presStyleIdx="18" presStyleCnt="27">
        <dgm:presLayoutVars>
          <dgm:bulletEnabled val="1"/>
        </dgm:presLayoutVars>
      </dgm:prSet>
      <dgm:spPr/>
    </dgm:pt>
    <dgm:pt modelId="{14B39D54-97F4-A642-8172-D4845DF6B17C}" type="pres">
      <dgm:prSet presAssocID="{7A93B62C-5C6F-AC4F-8A7C-ED6B585841C1}" presName="root" presStyleCnt="0"/>
      <dgm:spPr/>
    </dgm:pt>
    <dgm:pt modelId="{3ED6C7EF-24BB-7342-8D42-B1DAABDCCBDF}" type="pres">
      <dgm:prSet presAssocID="{7A93B62C-5C6F-AC4F-8A7C-ED6B585841C1}" presName="rootComposite" presStyleCnt="0"/>
      <dgm:spPr/>
    </dgm:pt>
    <dgm:pt modelId="{51CA69B9-995A-3146-AEC4-A30299EAFD91}" type="pres">
      <dgm:prSet presAssocID="{7A93B62C-5C6F-AC4F-8A7C-ED6B585841C1}" presName="rootText" presStyleLbl="node1" presStyleIdx="6" presStyleCnt="8"/>
      <dgm:spPr/>
    </dgm:pt>
    <dgm:pt modelId="{A3EBC1A4-3CA1-964A-8FB8-1070D94A0A1C}" type="pres">
      <dgm:prSet presAssocID="{7A93B62C-5C6F-AC4F-8A7C-ED6B585841C1}" presName="rootConnector" presStyleLbl="node1" presStyleIdx="6" presStyleCnt="8"/>
      <dgm:spPr/>
    </dgm:pt>
    <dgm:pt modelId="{A8A13AA4-94BD-1E4B-9957-85A2CC29447C}" type="pres">
      <dgm:prSet presAssocID="{7A93B62C-5C6F-AC4F-8A7C-ED6B585841C1}" presName="childShape" presStyleCnt="0"/>
      <dgm:spPr/>
    </dgm:pt>
    <dgm:pt modelId="{437448C7-8D9E-894B-8A39-BF62597BFD1F}" type="pres">
      <dgm:prSet presAssocID="{6FA5CCA6-E064-CA4E-A237-3841FE7B18E9}" presName="Name13" presStyleLbl="parChTrans1D2" presStyleIdx="19" presStyleCnt="27"/>
      <dgm:spPr/>
    </dgm:pt>
    <dgm:pt modelId="{80FE65BA-CA7D-9B4B-8240-226E315E8C05}" type="pres">
      <dgm:prSet presAssocID="{95F28B24-1712-6849-B4D1-E5648E216B92}" presName="childText" presStyleLbl="bgAcc1" presStyleIdx="19" presStyleCnt="27">
        <dgm:presLayoutVars>
          <dgm:bulletEnabled val="1"/>
        </dgm:presLayoutVars>
      </dgm:prSet>
      <dgm:spPr/>
    </dgm:pt>
    <dgm:pt modelId="{09E76712-CFC8-9047-BE35-9AED4279CA14}" type="pres">
      <dgm:prSet presAssocID="{EC44253B-0648-334C-A54A-72CE77C60696}" presName="Name13" presStyleLbl="parChTrans1D2" presStyleIdx="20" presStyleCnt="27"/>
      <dgm:spPr/>
    </dgm:pt>
    <dgm:pt modelId="{59C8AD72-1FF0-6D4F-ABDA-EF6C6C91D979}" type="pres">
      <dgm:prSet presAssocID="{4EE57A1C-0DB5-1F49-B834-B315C0F65072}" presName="childText" presStyleLbl="bgAcc1" presStyleIdx="20" presStyleCnt="27">
        <dgm:presLayoutVars>
          <dgm:bulletEnabled val="1"/>
        </dgm:presLayoutVars>
      </dgm:prSet>
      <dgm:spPr/>
    </dgm:pt>
    <dgm:pt modelId="{4D9FE055-ADA2-6C4F-B60B-7CBC43A089E6}" type="pres">
      <dgm:prSet presAssocID="{5354B16A-E11E-1D48-AAFB-7D240D6642F5}" presName="Name13" presStyleLbl="parChTrans1D2" presStyleIdx="21" presStyleCnt="27"/>
      <dgm:spPr/>
    </dgm:pt>
    <dgm:pt modelId="{E5C17912-BBD8-EA48-B033-E10027B13EC4}" type="pres">
      <dgm:prSet presAssocID="{95CB294F-A2D2-EE47-AB33-C7A9CB36A488}" presName="childText" presStyleLbl="bgAcc1" presStyleIdx="21" presStyleCnt="27">
        <dgm:presLayoutVars>
          <dgm:bulletEnabled val="1"/>
        </dgm:presLayoutVars>
      </dgm:prSet>
      <dgm:spPr/>
    </dgm:pt>
    <dgm:pt modelId="{5DF2E0AC-F16A-7B43-A3E3-38B736183D8E}" type="pres">
      <dgm:prSet presAssocID="{C464E591-CEA1-414D-AB66-7269B863E3A7}" presName="Name13" presStyleLbl="parChTrans1D2" presStyleIdx="22" presStyleCnt="27"/>
      <dgm:spPr/>
    </dgm:pt>
    <dgm:pt modelId="{FCF6F526-FB38-FE4D-A494-4DFFD18DA82E}" type="pres">
      <dgm:prSet presAssocID="{A8A21FA9-2703-0548-B6F7-AD6E73BDA1AE}" presName="childText" presStyleLbl="bgAcc1" presStyleIdx="22" presStyleCnt="27">
        <dgm:presLayoutVars>
          <dgm:bulletEnabled val="1"/>
        </dgm:presLayoutVars>
      </dgm:prSet>
      <dgm:spPr/>
    </dgm:pt>
    <dgm:pt modelId="{FC0FD8D0-996E-6443-9AFF-FC093786F2BB}" type="pres">
      <dgm:prSet presAssocID="{971C1B5D-67F7-F748-8432-22B7AA5C243E}" presName="Name13" presStyleLbl="parChTrans1D2" presStyleIdx="23" presStyleCnt="27"/>
      <dgm:spPr/>
    </dgm:pt>
    <dgm:pt modelId="{9B9AE7A8-612B-0545-961B-2FB089BD92F9}" type="pres">
      <dgm:prSet presAssocID="{E9A3D690-F538-1640-BA5A-DA7EF97EEB32}" presName="childText" presStyleLbl="bgAcc1" presStyleIdx="23" presStyleCnt="27">
        <dgm:presLayoutVars>
          <dgm:bulletEnabled val="1"/>
        </dgm:presLayoutVars>
      </dgm:prSet>
      <dgm:spPr/>
    </dgm:pt>
    <dgm:pt modelId="{AF6E4287-AEB5-7143-99D0-53C62C5C1F09}" type="pres">
      <dgm:prSet presAssocID="{05F23BCB-22AA-E245-BA73-9BF467A5A01F}" presName="root" presStyleCnt="0"/>
      <dgm:spPr/>
    </dgm:pt>
    <dgm:pt modelId="{78CFACDA-E4B9-F547-AD11-FB2DED584293}" type="pres">
      <dgm:prSet presAssocID="{05F23BCB-22AA-E245-BA73-9BF467A5A01F}" presName="rootComposite" presStyleCnt="0"/>
      <dgm:spPr/>
    </dgm:pt>
    <dgm:pt modelId="{04A97591-A644-7A4E-A21C-0F455A246C0B}" type="pres">
      <dgm:prSet presAssocID="{05F23BCB-22AA-E245-BA73-9BF467A5A01F}" presName="rootText" presStyleLbl="node1" presStyleIdx="7" presStyleCnt="8"/>
      <dgm:spPr/>
    </dgm:pt>
    <dgm:pt modelId="{986E21F7-1EC6-6044-A4BD-94ABA22EBA0E}" type="pres">
      <dgm:prSet presAssocID="{05F23BCB-22AA-E245-BA73-9BF467A5A01F}" presName="rootConnector" presStyleLbl="node1" presStyleIdx="7" presStyleCnt="8"/>
      <dgm:spPr/>
    </dgm:pt>
    <dgm:pt modelId="{8E02AF95-9737-1F40-9B03-D871C623D3B3}" type="pres">
      <dgm:prSet presAssocID="{05F23BCB-22AA-E245-BA73-9BF467A5A01F}" presName="childShape" presStyleCnt="0"/>
      <dgm:spPr/>
    </dgm:pt>
    <dgm:pt modelId="{B575AD4C-A0B9-C546-951C-87B42CC951D5}" type="pres">
      <dgm:prSet presAssocID="{0AE37708-A5CF-DA4C-A40A-ADA98508CC23}" presName="Name13" presStyleLbl="parChTrans1D2" presStyleIdx="24" presStyleCnt="27"/>
      <dgm:spPr/>
    </dgm:pt>
    <dgm:pt modelId="{D314026A-2F78-F84E-8045-6675029EDD49}" type="pres">
      <dgm:prSet presAssocID="{8AE60BF9-091B-184E-9005-EF4555AA90DF}" presName="childText" presStyleLbl="bgAcc1" presStyleIdx="24" presStyleCnt="27">
        <dgm:presLayoutVars>
          <dgm:bulletEnabled val="1"/>
        </dgm:presLayoutVars>
      </dgm:prSet>
      <dgm:spPr/>
    </dgm:pt>
    <dgm:pt modelId="{16E58DE1-A091-5548-8240-35067CD2D11F}" type="pres">
      <dgm:prSet presAssocID="{A746390B-A82F-C64B-8145-6D27C88B0E24}" presName="Name13" presStyleLbl="parChTrans1D2" presStyleIdx="25" presStyleCnt="27"/>
      <dgm:spPr/>
    </dgm:pt>
    <dgm:pt modelId="{EFCCE37F-D0FD-4444-9D80-DBC41CEF80D2}" type="pres">
      <dgm:prSet presAssocID="{A5365144-998A-224B-BF5C-39352B61A674}" presName="childText" presStyleLbl="bgAcc1" presStyleIdx="25" presStyleCnt="27">
        <dgm:presLayoutVars>
          <dgm:bulletEnabled val="1"/>
        </dgm:presLayoutVars>
      </dgm:prSet>
      <dgm:spPr/>
    </dgm:pt>
    <dgm:pt modelId="{7DDFF29B-2975-EF45-B31C-ECD72FD9ABF0}" type="pres">
      <dgm:prSet presAssocID="{4B304EE6-B53F-644F-9D12-5306178C6031}" presName="Name13" presStyleLbl="parChTrans1D2" presStyleIdx="26" presStyleCnt="27"/>
      <dgm:spPr/>
    </dgm:pt>
    <dgm:pt modelId="{3A801272-935B-9A41-A9D1-B14936F53555}" type="pres">
      <dgm:prSet presAssocID="{F9D126EF-BE2E-7746-9348-9E369FE47AFA}" presName="childText" presStyleLbl="bgAcc1" presStyleIdx="26" presStyleCnt="27">
        <dgm:presLayoutVars>
          <dgm:bulletEnabled val="1"/>
        </dgm:presLayoutVars>
      </dgm:prSet>
      <dgm:spPr/>
    </dgm:pt>
  </dgm:ptLst>
  <dgm:cxnLst>
    <dgm:cxn modelId="{C44EB201-2365-40DD-96F6-365A89E094F5}" type="presOf" srcId="{8DC7C76D-6C75-D742-A16F-9E797B71B627}" destId="{5F283CA6-EFED-9B45-B629-D2FA0BF4ADCB}" srcOrd="0" destOrd="0" presId="urn:microsoft.com/office/officeart/2005/8/layout/hierarchy3"/>
    <dgm:cxn modelId="{58FB9503-7E52-BC44-A1F9-12574B538CBE}" srcId="{F1F5D922-A647-5945-89E1-2B1158E87E7C}" destId="{7A93B62C-5C6F-AC4F-8A7C-ED6B585841C1}" srcOrd="6" destOrd="0" parTransId="{209C471E-D42A-FA46-93C8-24BE0E89AD9A}" sibTransId="{2C9C703C-A18F-5A4C-819B-12AE8BD3C33E}"/>
    <dgm:cxn modelId="{F166A007-9572-FC4E-A4C0-A1502C01C84F}" srcId="{F1F5D922-A647-5945-89E1-2B1158E87E7C}" destId="{AC1C2011-E47F-F24C-8B7C-4E3BC1DFAB2D}" srcOrd="3" destOrd="0" parTransId="{875C913E-520C-F54F-B29E-C519013B05EF}" sibTransId="{822AF7AC-50EA-A147-96D3-4CCEFC7F8215}"/>
    <dgm:cxn modelId="{2D897209-B9F3-414F-8BD1-5F17D22A3A07}" type="presOf" srcId="{A5B5B806-C405-5C4C-8827-00133AAE07B2}" destId="{5E914F32-FE04-9D4B-B1A1-C47F3DB5E6F2}" srcOrd="0" destOrd="0" presId="urn:microsoft.com/office/officeart/2005/8/layout/hierarchy3"/>
    <dgm:cxn modelId="{D52B190A-4930-49F9-B4CD-762EECC7FDAA}" type="presOf" srcId="{B41E6929-1A8C-EF44-A394-950681650A9E}" destId="{B558153D-11A8-6142-B758-300ACA5246DD}" srcOrd="0" destOrd="0" presId="urn:microsoft.com/office/officeart/2005/8/layout/hierarchy3"/>
    <dgm:cxn modelId="{AFC35A0A-0D94-47EF-B78B-518A418BD6F6}" type="presOf" srcId="{5A68C619-65D3-114E-9776-3746F139E5CA}" destId="{35EA8B6E-7CBA-3C46-ACBA-B28BF59A2486}" srcOrd="0" destOrd="0" presId="urn:microsoft.com/office/officeart/2005/8/layout/hierarchy3"/>
    <dgm:cxn modelId="{4D91260C-200C-4B89-B533-DE3956D343D2}" type="presOf" srcId="{16038EE6-6BF3-4B48-9980-ACC7A6420663}" destId="{14B23716-2CC8-5148-A061-F33F23804BE5}" srcOrd="0" destOrd="0" presId="urn:microsoft.com/office/officeart/2005/8/layout/hierarchy3"/>
    <dgm:cxn modelId="{F48E2F0C-4409-43AA-A6BC-CEEB68CE0E21}" type="presOf" srcId="{457D7804-6648-244C-B977-5FFA990152B3}" destId="{6C7CCA5F-C27C-C242-A47B-5B9938F66569}" srcOrd="0" destOrd="0" presId="urn:microsoft.com/office/officeart/2005/8/layout/hierarchy3"/>
    <dgm:cxn modelId="{14E37512-713E-4C88-AF6A-9C9B480100AD}" type="presOf" srcId="{6FA5CCA6-E064-CA4E-A237-3841FE7B18E9}" destId="{437448C7-8D9E-894B-8A39-BF62597BFD1F}" srcOrd="0" destOrd="0" presId="urn:microsoft.com/office/officeart/2005/8/layout/hierarchy3"/>
    <dgm:cxn modelId="{89AA0514-B813-FC49-9C07-87B67F6A64C2}" srcId="{8F051BCC-AB3B-394F-ADE0-550A8288E9D1}" destId="{E6E223AD-5E94-2440-8F3B-B6DE336C4CEC}" srcOrd="1" destOrd="0" parTransId="{7E0FC8F8-EB3C-C748-BAEB-624230241256}" sibTransId="{BCD642E1-79CF-A944-A179-9D259CAED5F2}"/>
    <dgm:cxn modelId="{3B0DFF15-2DAE-4918-B846-1E3E226F29F1}" type="presOf" srcId="{2704C766-EA22-D046-80C0-C5A0AF66F85D}" destId="{F8F89AFA-7427-B447-B5EA-897B3007A5D0}" srcOrd="0" destOrd="0" presId="urn:microsoft.com/office/officeart/2005/8/layout/hierarchy3"/>
    <dgm:cxn modelId="{00BC6A16-A3EA-4DC2-9A52-999A3502A341}" type="presOf" srcId="{E18C2833-A402-AE40-AFC4-1A0012C0626B}" destId="{092E03E6-0390-364F-B243-BCD0C52801E2}" srcOrd="0" destOrd="0" presId="urn:microsoft.com/office/officeart/2005/8/layout/hierarchy3"/>
    <dgm:cxn modelId="{8287EA18-CC81-C647-AE7B-8853F485D1CB}" srcId="{41DCB497-4F67-7240-B1C3-DED53DF245ED}" destId="{444FF2BE-46A6-0C4D-9D6A-8EF2ABCAD744}" srcOrd="1" destOrd="0" parTransId="{136354CD-7547-0F40-90F8-3C436C8B34AB}" sibTransId="{08BBC0FC-E5EF-2F48-9E65-A9D096746A03}"/>
    <dgm:cxn modelId="{BDB5AD19-ECBD-495A-81F9-C80FC6598A96}" type="presOf" srcId="{41DCB497-4F67-7240-B1C3-DED53DF245ED}" destId="{79B777F2-00FE-FA4D-9CF1-63BDC88ED8C0}" srcOrd="1" destOrd="0" presId="urn:microsoft.com/office/officeart/2005/8/layout/hierarchy3"/>
    <dgm:cxn modelId="{F1127820-0574-C84E-A90D-0BDE230F30CE}" srcId="{0E8CD457-DF9A-854A-B772-A66C169B0588}" destId="{D01FFA2E-324C-4F44-8F5B-1D93BA14C37D}" srcOrd="0" destOrd="0" parTransId="{883F9595-6196-5F40-B439-137031A0CA92}" sibTransId="{B6B99295-B775-EA45-BDE7-A0F66DFE49C2}"/>
    <dgm:cxn modelId="{11322625-62CB-45C7-A6E5-EDE32E9A2505}" type="presOf" srcId="{2F9FF1B4-EA6C-7C4A-A81D-BD01257A79E7}" destId="{BA133919-C9B4-1F46-8D96-28E5A05EB3DE}" srcOrd="0" destOrd="0" presId="urn:microsoft.com/office/officeart/2005/8/layout/hierarchy3"/>
    <dgm:cxn modelId="{061ED927-7804-46B2-8D5B-C407D20BBE46}" type="presOf" srcId="{E6E223AD-5E94-2440-8F3B-B6DE336C4CEC}" destId="{3632657C-BFC7-224C-84FA-CA5FAF7AD56D}" srcOrd="0" destOrd="0" presId="urn:microsoft.com/office/officeart/2005/8/layout/hierarchy3"/>
    <dgm:cxn modelId="{3DB9BE2A-8DBF-44DD-83E9-3E564B45D932}" type="presOf" srcId="{95F28B24-1712-6849-B4D1-E5648E216B92}" destId="{80FE65BA-CA7D-9B4B-8240-226E315E8C05}" srcOrd="0" destOrd="0" presId="urn:microsoft.com/office/officeart/2005/8/layout/hierarchy3"/>
    <dgm:cxn modelId="{5E14102D-7084-FA4C-AAEB-7A45B235F0D7}" srcId="{00D42E72-3F24-5446-A532-B962CD556993}" destId="{E18C2833-A402-AE40-AFC4-1A0012C0626B}" srcOrd="3" destOrd="0" parTransId="{5A68C619-65D3-114E-9776-3746F139E5CA}" sibTransId="{42B1A76F-E8A5-F741-9656-0220FB356D62}"/>
    <dgm:cxn modelId="{9A9AB62D-7896-264C-9BC2-3B8F3619D125}" srcId="{05F23BCB-22AA-E245-BA73-9BF467A5A01F}" destId="{A5365144-998A-224B-BF5C-39352B61A674}" srcOrd="1" destOrd="0" parTransId="{A746390B-A82F-C64B-8145-6D27C88B0E24}" sibTransId="{7745351C-F63F-B543-AA34-F2D3A0BE0513}"/>
    <dgm:cxn modelId="{0C2E4B30-26C0-45CC-97CF-3A2884FC205E}" type="presOf" srcId="{BE09F905-F57D-3A41-B986-6174F9DE9EF6}" destId="{96C0B8AD-0DBD-D346-8EE3-09BFB11167B9}" srcOrd="0" destOrd="0" presId="urn:microsoft.com/office/officeart/2005/8/layout/hierarchy3"/>
    <dgm:cxn modelId="{2928AD30-689E-4B91-BD26-6FD9372E5BE2}" type="presOf" srcId="{9F0F78F8-60F2-FB40-ACE6-A8E46E10A1BB}" destId="{6A58B61E-B9B8-664C-AF64-AB9D200576BF}" srcOrd="0" destOrd="0" presId="urn:microsoft.com/office/officeart/2005/8/layout/hierarchy3"/>
    <dgm:cxn modelId="{43692E34-E085-3749-8CF1-151B2F9F1C8E}" srcId="{7A93B62C-5C6F-AC4F-8A7C-ED6B585841C1}" destId="{E9A3D690-F538-1640-BA5A-DA7EF97EEB32}" srcOrd="4" destOrd="0" parTransId="{971C1B5D-67F7-F748-8432-22B7AA5C243E}" sibTransId="{79022E51-1F17-8546-9AC8-3171512E16F1}"/>
    <dgm:cxn modelId="{885B4635-904E-4EC8-A9A7-786501CA3737}" type="presOf" srcId="{B38F1EE6-D813-644B-B80E-DC72FD03A0A2}" destId="{3394CABE-AB99-1C4A-B9C0-729743D086F2}" srcOrd="0" destOrd="0" presId="urn:microsoft.com/office/officeart/2005/8/layout/hierarchy3"/>
    <dgm:cxn modelId="{18D0865B-B114-4DF1-93EC-9097AB9C6C32}" type="presOf" srcId="{A8A21FA9-2703-0548-B6F7-AD6E73BDA1AE}" destId="{FCF6F526-FB38-FE4D-A494-4DFFD18DA82E}" srcOrd="0" destOrd="0" presId="urn:microsoft.com/office/officeart/2005/8/layout/hierarchy3"/>
    <dgm:cxn modelId="{90310942-0573-402B-8B05-74BFD03B8C4A}" type="presOf" srcId="{B0893E9D-79A1-714C-9815-3E92244E91ED}" destId="{DA57115A-100A-0B4A-9BAC-ABEC59ABB382}" srcOrd="0" destOrd="0" presId="urn:microsoft.com/office/officeart/2005/8/layout/hierarchy3"/>
    <dgm:cxn modelId="{1398CD42-0A20-4D92-B879-DA2DEBB39487}" type="presOf" srcId="{5354B16A-E11E-1D48-AAFB-7D240D6642F5}" destId="{4D9FE055-ADA2-6C4F-B60B-7CBC43A089E6}" srcOrd="0" destOrd="0" presId="urn:microsoft.com/office/officeart/2005/8/layout/hierarchy3"/>
    <dgm:cxn modelId="{FD2DDB42-F800-4B88-B3A8-56C5CE819F5F}" type="presOf" srcId="{EC44253B-0648-334C-A54A-72CE77C60696}" destId="{09E76712-CFC8-9047-BE35-9AED4279CA14}" srcOrd="0" destOrd="0" presId="urn:microsoft.com/office/officeart/2005/8/layout/hierarchy3"/>
    <dgm:cxn modelId="{D1158E43-BA3C-441E-A6D8-543011115598}" type="presOf" srcId="{E876EA2D-293D-BC4A-A196-3712A4F5CDB1}" destId="{F25706D1-68D7-8C43-A6D7-5B86169F3E21}" srcOrd="0" destOrd="0" presId="urn:microsoft.com/office/officeart/2005/8/layout/hierarchy3"/>
    <dgm:cxn modelId="{970C8F44-585A-5948-930E-9E835ABDD018}" srcId="{AC1C2011-E47F-F24C-8B7C-4E3BC1DFAB2D}" destId="{B0893E9D-79A1-714C-9815-3E92244E91ED}" srcOrd="0" destOrd="0" parTransId="{BE09F905-F57D-3A41-B986-6174F9DE9EF6}" sibTransId="{9716B081-0A92-BB46-BEA7-6085DD96F792}"/>
    <dgm:cxn modelId="{8CF4E965-0191-4D5A-BDFA-975915A81833}" type="presOf" srcId="{05D8882D-F16D-AB43-A3F3-30720E7BFBE0}" destId="{CEEA02DB-4226-0A4E-9CEE-E4DF1468D4FA}" srcOrd="0" destOrd="0" presId="urn:microsoft.com/office/officeart/2005/8/layout/hierarchy3"/>
    <dgm:cxn modelId="{E4840C48-E61B-41D4-814E-C7CED15FF421}" type="presOf" srcId="{4EE57A1C-0DB5-1F49-B834-B315C0F65072}" destId="{59C8AD72-1FF0-6D4F-ABDA-EF6C6C91D979}" srcOrd="0" destOrd="0" presId="urn:microsoft.com/office/officeart/2005/8/layout/hierarchy3"/>
    <dgm:cxn modelId="{4EAC0A49-AF64-49CE-B8BF-6E20E97ED01B}" type="presOf" srcId="{9C1B7D37-0A7C-4146-A31B-21D8316E2833}" destId="{12865B71-5B1C-3140-BFB5-38937DC9BCE6}" srcOrd="0" destOrd="0" presId="urn:microsoft.com/office/officeart/2005/8/layout/hierarchy3"/>
    <dgm:cxn modelId="{771C1A6A-AF9B-F14A-ABCF-24B1ABDA5FE1}" srcId="{00D42E72-3F24-5446-A532-B962CD556993}" destId="{69292C06-EF1C-1D4C-A419-4BBF1A78C12B}" srcOrd="1" destOrd="0" parTransId="{7F9F97BE-5130-EC47-A26F-5CE7B8699020}" sibTransId="{11D7078B-256A-0541-9889-01991EA840FB}"/>
    <dgm:cxn modelId="{4EDF9F4B-A9DF-418D-9758-E8CBBC5585A8}" type="presOf" srcId="{35DE522F-B866-F941-BC4D-91F450E2F441}" destId="{DD922611-B3FD-504D-B7FB-01A6B7FC4849}" srcOrd="0" destOrd="0" presId="urn:microsoft.com/office/officeart/2005/8/layout/hierarchy3"/>
    <dgm:cxn modelId="{FFFD1B6C-713B-4DDE-BA66-B8DD1CDDAFEF}" type="presOf" srcId="{C464E591-CEA1-414D-AB66-7269B863E3A7}" destId="{5DF2E0AC-F16A-7B43-A3E3-38B736183D8E}" srcOrd="0" destOrd="0" presId="urn:microsoft.com/office/officeart/2005/8/layout/hierarchy3"/>
    <dgm:cxn modelId="{9F25B14D-5DFF-49E6-B44C-3C15783DE25E}" type="presOf" srcId="{7E0FC8F8-EB3C-C748-BAEB-624230241256}" destId="{40E2CB40-9B00-E748-B505-5DD3E635E558}" srcOrd="0" destOrd="0" presId="urn:microsoft.com/office/officeart/2005/8/layout/hierarchy3"/>
    <dgm:cxn modelId="{4544BC6D-CC7F-2D44-8851-9CD7A2C4CDC3}" srcId="{00D42E72-3F24-5446-A532-B962CD556993}" destId="{3249E403-7B42-E041-AB57-0829AE25A092}" srcOrd="4" destOrd="0" parTransId="{A5B5B806-C405-5C4C-8827-00133AAE07B2}" sibTransId="{98164AA1-8FDF-1F4F-B189-E9577350CB76}"/>
    <dgm:cxn modelId="{1E6AFF6D-FD10-F540-B9E2-6756D4679939}" srcId="{00D42E72-3F24-5446-A532-B962CD556993}" destId="{A6D7EFB5-A92E-044B-B43F-51922C0DC9A0}" srcOrd="0" destOrd="0" parTransId="{457D7804-6648-244C-B977-5FFA990152B3}" sibTransId="{58A1200A-74DE-DC4C-BAC0-FA8EE5C767D2}"/>
    <dgm:cxn modelId="{83B3DA72-28C6-4C66-BA02-A3F66561FEF5}" type="presOf" srcId="{883F9595-6196-5F40-B439-137031A0CA92}" destId="{E976EDA8-6C28-DE4A-87DF-710404B66FFB}" srcOrd="0" destOrd="0" presId="urn:microsoft.com/office/officeart/2005/8/layout/hierarchy3"/>
    <dgm:cxn modelId="{2BBA6873-5ACF-4D71-AF1D-66D8789EBD69}" type="presOf" srcId="{05F23BCB-22AA-E245-BA73-9BF467A5A01F}" destId="{986E21F7-1EC6-6044-A4BD-94ABA22EBA0E}" srcOrd="1" destOrd="0" presId="urn:microsoft.com/office/officeart/2005/8/layout/hierarchy3"/>
    <dgm:cxn modelId="{0075C254-7B21-4651-80BF-36C021B14A18}" type="presOf" srcId="{F9D126EF-BE2E-7746-9348-9E369FE47AFA}" destId="{3A801272-935B-9A41-A9D1-B14936F53555}" srcOrd="0" destOrd="0" presId="urn:microsoft.com/office/officeart/2005/8/layout/hierarchy3"/>
    <dgm:cxn modelId="{4DB0AE55-1820-4A91-A83A-9F893CC450BF}" type="presOf" srcId="{3C53D9CB-B49A-1041-B36E-C876B26C0664}" destId="{ABA92FFD-011E-CD40-84AF-075B95B64B93}" srcOrd="0" destOrd="0" presId="urn:microsoft.com/office/officeart/2005/8/layout/hierarchy3"/>
    <dgm:cxn modelId="{FAC03356-C16B-4014-9FA2-CBEBFCB0CE62}" type="presOf" srcId="{AE8F0254-C357-F34A-B5AE-12FF6C1B5C26}" destId="{9DD1C069-7EFF-BE4E-9BEF-C0171B20E754}" srcOrd="0" destOrd="0" presId="urn:microsoft.com/office/officeart/2005/8/layout/hierarchy3"/>
    <dgm:cxn modelId="{565F3F56-F7D8-4554-B055-61D806FC6EB9}" type="presOf" srcId="{53C1FC7C-FB8B-ED43-B796-B56D223ECB81}" destId="{FE0B66B4-D0F6-534A-9FA4-5FFE3999714B}" srcOrd="0" destOrd="0" presId="urn:microsoft.com/office/officeart/2005/8/layout/hierarchy3"/>
    <dgm:cxn modelId="{839D9B58-159C-4E69-BF40-8F8C4199D0FE}" type="presOf" srcId="{7A93B62C-5C6F-AC4F-8A7C-ED6B585841C1}" destId="{51CA69B9-995A-3146-AEC4-A30299EAFD91}" srcOrd="0" destOrd="0" presId="urn:microsoft.com/office/officeart/2005/8/layout/hierarchy3"/>
    <dgm:cxn modelId="{2F79087A-5D82-41B2-BB56-49293DA020A3}" type="presOf" srcId="{FDAB69C9-3BA5-8240-A3EA-4A596500E358}" destId="{79124905-5F4B-C442-AA9D-A554D067E1CE}" srcOrd="0" destOrd="0" presId="urn:microsoft.com/office/officeart/2005/8/layout/hierarchy3"/>
    <dgm:cxn modelId="{7D24917B-F264-4E45-BDE3-71E6B04AAB54}" srcId="{2F9FF1B4-EA6C-7C4A-A81D-BD01257A79E7}" destId="{FDAB69C9-3BA5-8240-A3EA-4A596500E358}" srcOrd="0" destOrd="0" parTransId="{EE9B1C0E-FF5B-F64D-97DA-1EFCDC6AC4F0}" sibTransId="{32666D97-8610-9945-B7FA-DE82EDE8AF0D}"/>
    <dgm:cxn modelId="{0745A37C-07F6-4F57-A9EA-6DDACF06AC58}" type="presOf" srcId="{299096F4-3ED2-8C4A-9186-AB4A03B8C0C6}" destId="{6023BBE9-C729-A74F-9B11-823A1A565C70}" srcOrd="0" destOrd="0" presId="urn:microsoft.com/office/officeart/2005/8/layout/hierarchy3"/>
    <dgm:cxn modelId="{D38BB67C-602D-4D2B-A12A-9E13C0C34B20}" type="presOf" srcId="{05F23BCB-22AA-E245-BA73-9BF467A5A01F}" destId="{04A97591-A644-7A4E-A21C-0F455A246C0B}" srcOrd="0" destOrd="0" presId="urn:microsoft.com/office/officeart/2005/8/layout/hierarchy3"/>
    <dgm:cxn modelId="{91700D7E-0D88-41BF-BF10-00D36A8DC23B}" type="presOf" srcId="{0AE37708-A5CF-DA4C-A40A-ADA98508CC23}" destId="{B575AD4C-A0B9-C546-951C-87B42CC951D5}" srcOrd="0" destOrd="0" presId="urn:microsoft.com/office/officeart/2005/8/layout/hierarchy3"/>
    <dgm:cxn modelId="{3F8B7980-F4D0-4D10-9368-926AFFCE0341}" type="presOf" srcId="{3249E403-7B42-E041-AB57-0829AE25A092}" destId="{CC575E2B-BF36-C244-BFA9-0A26DD34CB23}" srcOrd="0" destOrd="0" presId="urn:microsoft.com/office/officeart/2005/8/layout/hierarchy3"/>
    <dgm:cxn modelId="{4DE1ED81-87F1-4AA0-A131-B017696B2EE7}" type="presOf" srcId="{00D42E72-3F24-5446-A532-B962CD556993}" destId="{7C4B08AE-504D-5445-8927-ABADC132B1EA}" srcOrd="0" destOrd="0" presId="urn:microsoft.com/office/officeart/2005/8/layout/hierarchy3"/>
    <dgm:cxn modelId="{3E7EFA84-5E35-C846-8C47-63D027B2E805}" srcId="{7A93B62C-5C6F-AC4F-8A7C-ED6B585841C1}" destId="{4EE57A1C-0DB5-1F49-B834-B315C0F65072}" srcOrd="1" destOrd="0" parTransId="{EC44253B-0648-334C-A54A-72CE77C60696}" sibTransId="{629D1C23-38C7-5F40-A941-195B4EBC56DE}"/>
    <dgm:cxn modelId="{6C29AD89-4F08-4638-B472-0F948AA756DC}" type="presOf" srcId="{D01FFA2E-324C-4F44-8F5B-1D93BA14C37D}" destId="{23B72943-9D2C-B447-9862-078C01E5CD48}" srcOrd="0" destOrd="0" presId="urn:microsoft.com/office/officeart/2005/8/layout/hierarchy3"/>
    <dgm:cxn modelId="{5DBEB98B-738C-ED4F-AD67-E2390B57594D}" srcId="{0E8CD457-DF9A-854A-B772-A66C169B0588}" destId="{8DC7C76D-6C75-D742-A16F-9E797B71B627}" srcOrd="2" destOrd="0" parTransId="{B41E6929-1A8C-EF44-A394-950681650A9E}" sibTransId="{8FDA92A6-7F3E-944A-8CB4-9242580083D3}"/>
    <dgm:cxn modelId="{8B64D98E-DB2D-4EC2-995F-932F5C943C80}" type="presOf" srcId="{A746390B-A82F-C64B-8145-6D27C88B0E24}" destId="{16E58DE1-A091-5548-8240-35067CD2D11F}" srcOrd="0" destOrd="0" presId="urn:microsoft.com/office/officeart/2005/8/layout/hierarchy3"/>
    <dgm:cxn modelId="{D8D3788F-7422-4B2F-A3ED-1AD160219A84}" type="presOf" srcId="{AC1C2011-E47F-F24C-8B7C-4E3BC1DFAB2D}" destId="{20E4A332-023C-354A-A82F-E68BD57D1F45}" srcOrd="0" destOrd="0" presId="urn:microsoft.com/office/officeart/2005/8/layout/hierarchy3"/>
    <dgm:cxn modelId="{CB7F7890-6A28-40FB-854B-BD0A1D4C6E73}" type="presOf" srcId="{8AE60BF9-091B-184E-9005-EF4555AA90DF}" destId="{D314026A-2F78-F84E-8045-6675029EDD49}" srcOrd="0" destOrd="0" presId="urn:microsoft.com/office/officeart/2005/8/layout/hierarchy3"/>
    <dgm:cxn modelId="{F60A0691-5045-394F-956D-7F5888590301}" srcId="{F1F5D922-A647-5945-89E1-2B1158E87E7C}" destId="{0E8CD457-DF9A-854A-B772-A66C169B0588}" srcOrd="4" destOrd="0" parTransId="{08F59359-C013-7E47-94F6-E90D860A58DF}" sibTransId="{8E08FD71-FC03-CB42-A5BD-73669B7ED237}"/>
    <dgm:cxn modelId="{FD352A94-4692-BA4B-AFBA-53ED2D5C7456}" srcId="{AC1C2011-E47F-F24C-8B7C-4E3BC1DFAB2D}" destId="{B38F1EE6-D813-644B-B80E-DC72FD03A0A2}" srcOrd="1" destOrd="0" parTransId="{35DE522F-B866-F941-BC4D-91F450E2F441}" sibTransId="{D872DCFB-4FCB-0A4F-8B9F-20D50B54D705}"/>
    <dgm:cxn modelId="{EAA3F494-BAEB-44D5-9056-23B6DFE27780}" type="presOf" srcId="{A5365144-998A-224B-BF5C-39352B61A674}" destId="{EFCCE37F-D0FD-4444-9D80-DBC41CEF80D2}" srcOrd="0" destOrd="0" presId="urn:microsoft.com/office/officeart/2005/8/layout/hierarchy3"/>
    <dgm:cxn modelId="{8A831995-861E-4782-9F48-38F731F2C229}" type="presOf" srcId="{00D42E72-3F24-5446-A532-B962CD556993}" destId="{7E8E6DBD-621F-D641-8A93-A92DC836FF95}" srcOrd="1" destOrd="0" presId="urn:microsoft.com/office/officeart/2005/8/layout/hierarchy3"/>
    <dgm:cxn modelId="{18F85895-D2F9-9B49-BDF4-644A05E7DFBE}" srcId="{41DCB497-4F67-7240-B1C3-DED53DF245ED}" destId="{FD4DD728-38B2-774B-93E8-0922AD3E17ED}" srcOrd="2" destOrd="0" parTransId="{E876EA2D-293D-BC4A-A196-3712A4F5CDB1}" sibTransId="{C3859D40-5AA0-844D-825E-EBCAAA87B506}"/>
    <dgm:cxn modelId="{6DF36F9C-4132-448B-A871-1C9552F43A13}" type="presOf" srcId="{F1F5D922-A647-5945-89E1-2B1158E87E7C}" destId="{3DA2996A-B9CC-754B-A3CD-41FF8722C935}" srcOrd="0" destOrd="0" presId="urn:microsoft.com/office/officeart/2005/8/layout/hierarchy3"/>
    <dgm:cxn modelId="{FBD6DB9E-6280-4BAA-9158-79A1742B0D17}" type="presOf" srcId="{444FF2BE-46A6-0C4D-9D6A-8EF2ABCAD744}" destId="{73301F81-1F1D-3F46-B392-A59C2C4C807C}" srcOrd="0" destOrd="0" presId="urn:microsoft.com/office/officeart/2005/8/layout/hierarchy3"/>
    <dgm:cxn modelId="{FFF9D69F-B680-CD4D-822F-03F59C058A3D}" srcId="{F1F5D922-A647-5945-89E1-2B1158E87E7C}" destId="{41DCB497-4F67-7240-B1C3-DED53DF245ED}" srcOrd="0" destOrd="0" parTransId="{EF8DA8D5-FCE9-E14D-9897-BF3EC678B95A}" sibTransId="{5AAC9A2B-AAFE-704A-A72E-E6537DEA1C39}"/>
    <dgm:cxn modelId="{BB6FDEA0-D1E3-4697-9281-991F8BCD31FE}" type="presOf" srcId="{0E8CD457-DF9A-854A-B772-A66C169B0588}" destId="{5627C395-5AEB-6049-AFCA-210CC7A007BA}" srcOrd="1" destOrd="0" presId="urn:microsoft.com/office/officeart/2005/8/layout/hierarchy3"/>
    <dgm:cxn modelId="{F7B636A9-3F1D-4E4B-BBB1-A7922D6922B2}" srcId="{F1F5D922-A647-5945-89E1-2B1158E87E7C}" destId="{8F051BCC-AB3B-394F-ADE0-550A8288E9D1}" srcOrd="2" destOrd="0" parTransId="{70BF84AD-BF26-A249-B0E7-CCCCE1D37B64}" sibTransId="{2E3D6173-BE70-F34B-950B-1C3702EC581B}"/>
    <dgm:cxn modelId="{4CA8B3A9-6F84-F745-A397-B2638DFF7FA3}" srcId="{05F23BCB-22AA-E245-BA73-9BF467A5A01F}" destId="{8AE60BF9-091B-184E-9005-EF4555AA90DF}" srcOrd="0" destOrd="0" parTransId="{0AE37708-A5CF-DA4C-A40A-ADA98508CC23}" sibTransId="{0DFAB878-B6EC-3647-9263-A4B3AB2CF447}"/>
    <dgm:cxn modelId="{6CB113AA-9DEA-194E-B4B1-C591C50EA489}" srcId="{8F051BCC-AB3B-394F-ADE0-550A8288E9D1}" destId="{598FE064-F072-2E43-BEAE-80E649AEA9AE}" srcOrd="0" destOrd="0" parTransId="{224B842B-4E55-914D-977A-0FFA6511356C}" sibTransId="{BF168AA6-8FD0-D546-926D-CD54C2D9060A}"/>
    <dgm:cxn modelId="{841DCEAB-77F6-C149-B398-963E03A33824}" srcId="{2F9FF1B4-EA6C-7C4A-A81D-BD01257A79E7}" destId="{299096F4-3ED2-8C4A-9186-AB4A03B8C0C6}" srcOrd="1" destOrd="0" parTransId="{3E784F15-FAE9-BB49-95C5-CAC859C56617}" sibTransId="{82A589DB-9981-E041-A7ED-B93DEBADEC5B}"/>
    <dgm:cxn modelId="{5FE271AD-91AB-E540-8168-456A5C5F4FCA}" srcId="{F1F5D922-A647-5945-89E1-2B1158E87E7C}" destId="{00D42E72-3F24-5446-A532-B962CD556993}" srcOrd="5" destOrd="0" parTransId="{018CBCAC-7E13-DC4B-ABAF-4151D091C23E}" sibTransId="{159A85A7-45FC-764B-8BDD-34079D757EA7}"/>
    <dgm:cxn modelId="{EF92CDB2-5D79-4437-804A-E0EC727EDE24}" type="presOf" srcId="{7A93B62C-5C6F-AC4F-8A7C-ED6B585841C1}" destId="{A3EBC1A4-3CA1-964A-8FB8-1070D94A0A1C}" srcOrd="1" destOrd="0" presId="urn:microsoft.com/office/officeart/2005/8/layout/hierarchy3"/>
    <dgm:cxn modelId="{1E5CE1B3-6395-C843-B3EF-0F8FAF4FD5BD}" srcId="{2F9FF1B4-EA6C-7C4A-A81D-BD01257A79E7}" destId="{2704C766-EA22-D046-80C0-C5A0AF66F85D}" srcOrd="2" destOrd="0" parTransId="{9F0F78F8-60F2-FB40-ACE6-A8E46E10A1BB}" sibTransId="{47C8D04F-C358-9A48-B736-2D8B40E8D061}"/>
    <dgm:cxn modelId="{CAE3A9B4-9E49-419B-99DB-0924F1BAE445}" type="presOf" srcId="{224B842B-4E55-914D-977A-0FFA6511356C}" destId="{9F877505-089D-AE47-A1F1-6C24D9394F4F}" srcOrd="0" destOrd="0" presId="urn:microsoft.com/office/officeart/2005/8/layout/hierarchy3"/>
    <dgm:cxn modelId="{8BC662B7-03E9-4163-AF46-879A59B8C214}" type="presOf" srcId="{598FE064-F072-2E43-BEAE-80E649AEA9AE}" destId="{6FE81644-B710-2848-8BE0-2E9C1E143939}" srcOrd="0" destOrd="0" presId="urn:microsoft.com/office/officeart/2005/8/layout/hierarchy3"/>
    <dgm:cxn modelId="{7DA948B7-F874-4DE5-924C-CB765F61B66D}" type="presOf" srcId="{2F9FF1B4-EA6C-7C4A-A81D-BD01257A79E7}" destId="{C1CC0758-1E89-014B-BCA6-B412B5096445}" srcOrd="1" destOrd="0" presId="urn:microsoft.com/office/officeart/2005/8/layout/hierarchy3"/>
    <dgm:cxn modelId="{49C783B7-4BB3-4E4C-9D96-EF59DC389303}" type="presOf" srcId="{971C1B5D-67F7-F748-8432-22B7AA5C243E}" destId="{FC0FD8D0-996E-6443-9AFF-FC093786F2BB}" srcOrd="0" destOrd="0" presId="urn:microsoft.com/office/officeart/2005/8/layout/hierarchy3"/>
    <dgm:cxn modelId="{9C44E8B8-8AD9-374F-AB5A-E0DFD97DEBC9}" srcId="{7A93B62C-5C6F-AC4F-8A7C-ED6B585841C1}" destId="{A8A21FA9-2703-0548-B6F7-AD6E73BDA1AE}" srcOrd="3" destOrd="0" parTransId="{C464E591-CEA1-414D-AB66-7269B863E3A7}" sibTransId="{AAE35E0D-BBED-974A-8345-D01C85A9A5C3}"/>
    <dgm:cxn modelId="{7AC5F7BC-AFF6-4FEB-9ABF-455DD883EEDF}" type="presOf" srcId="{AC1C2011-E47F-F24C-8B7C-4E3BC1DFAB2D}" destId="{8D2DA61F-636E-4C4F-917A-A69C97043AB4}" srcOrd="1" destOrd="0" presId="urn:microsoft.com/office/officeart/2005/8/layout/hierarchy3"/>
    <dgm:cxn modelId="{B5D97CBD-078F-45B1-9319-4F77F9AB3926}" type="presOf" srcId="{4B304EE6-B53F-644F-9D12-5306178C6031}" destId="{7DDFF29B-2975-EF45-B31C-ECD72FD9ABF0}" srcOrd="0" destOrd="0" presId="urn:microsoft.com/office/officeart/2005/8/layout/hierarchy3"/>
    <dgm:cxn modelId="{F81AF2BF-4375-184B-86A7-1E8B65375CB8}" srcId="{05F23BCB-22AA-E245-BA73-9BF467A5A01F}" destId="{F9D126EF-BE2E-7746-9348-9E369FE47AFA}" srcOrd="2" destOrd="0" parTransId="{4B304EE6-B53F-644F-9D12-5306178C6031}" sibTransId="{C6F6394C-4393-E447-822F-CF280956CC95}"/>
    <dgm:cxn modelId="{9CB096C1-9AF6-1945-B1A9-5046E66C8772}" srcId="{0E8CD457-DF9A-854A-B772-A66C169B0588}" destId="{16038EE6-6BF3-4B48-9980-ACC7A6420663}" srcOrd="1" destOrd="0" parTransId="{AE8F0254-C357-F34A-B5AE-12FF6C1B5C26}" sibTransId="{0B8419AD-1F4A-364B-AB5A-51FA3B4CE4AF}"/>
    <dgm:cxn modelId="{27293FC4-AFA8-C04F-827D-EF7C5DFD5E2F}" srcId="{41DCB497-4F67-7240-B1C3-DED53DF245ED}" destId="{53C1FC7C-FB8B-ED43-B796-B56D223ECB81}" srcOrd="0" destOrd="0" parTransId="{05D8882D-F16D-AB43-A3F3-30720E7BFBE0}" sibTransId="{FA1A555A-A4F9-B143-A6AC-EE0D227AD57C}"/>
    <dgm:cxn modelId="{174E45C5-3B6F-E94E-9A87-07B24C3F8DEE}" srcId="{7A93B62C-5C6F-AC4F-8A7C-ED6B585841C1}" destId="{95CB294F-A2D2-EE47-AB33-C7A9CB36A488}" srcOrd="2" destOrd="0" parTransId="{5354B16A-E11E-1D48-AAFB-7D240D6642F5}" sibTransId="{1EC4D161-9293-3849-AB95-3B40B45A1BB7}"/>
    <dgm:cxn modelId="{107154C8-A30F-114D-8393-F817D0900E82}" srcId="{0E8CD457-DF9A-854A-B772-A66C169B0588}" destId="{3C53D9CB-B49A-1041-B36E-C876B26C0664}" srcOrd="3" destOrd="0" parTransId="{9C1B7D37-0A7C-4146-A31B-21D8316E2833}" sibTransId="{A56BD4CF-F2CB-3D42-B050-868112FD307A}"/>
    <dgm:cxn modelId="{0B966AC9-2325-1E4E-B0C8-2C19E55D858E}" srcId="{F1F5D922-A647-5945-89E1-2B1158E87E7C}" destId="{05F23BCB-22AA-E245-BA73-9BF467A5A01F}" srcOrd="7" destOrd="0" parTransId="{A7E108D9-D194-FE4F-8C1B-3BFABDB65787}" sibTransId="{5382DFFD-E064-1D40-BAEB-F6C25F6107AE}"/>
    <dgm:cxn modelId="{511D03CC-FA77-4BE6-94DD-AB06425F6788}" type="presOf" srcId="{3E784F15-FAE9-BB49-95C5-CAC859C56617}" destId="{8AECC5BC-2112-6C47-BA97-C703B279B190}" srcOrd="0" destOrd="0" presId="urn:microsoft.com/office/officeart/2005/8/layout/hierarchy3"/>
    <dgm:cxn modelId="{96EC47CC-13E5-412E-BDC1-38C859709172}" type="presOf" srcId="{69292C06-EF1C-1D4C-A419-4BBF1A78C12B}" destId="{997B334E-E3E7-484A-94FD-9FE98B06E5D3}" srcOrd="0" destOrd="0" presId="urn:microsoft.com/office/officeart/2005/8/layout/hierarchy3"/>
    <dgm:cxn modelId="{22F577CC-3C93-4FE8-BCB3-77502727B7C3}" type="presOf" srcId="{7F9F97BE-5130-EC47-A26F-5CE7B8699020}" destId="{4236FFC8-1C6E-D94D-BE64-0D9C3F213F9C}" srcOrd="0" destOrd="0" presId="urn:microsoft.com/office/officeart/2005/8/layout/hierarchy3"/>
    <dgm:cxn modelId="{72C0B9CC-00D6-409B-B8DE-E9C0A79CE612}" type="presOf" srcId="{41DCB497-4F67-7240-B1C3-DED53DF245ED}" destId="{845ED3E6-51AD-1641-949A-0F65BC3E9D79}" srcOrd="0" destOrd="0" presId="urn:microsoft.com/office/officeart/2005/8/layout/hierarchy3"/>
    <dgm:cxn modelId="{5BE38ACE-202B-483C-92B5-D57E609D224D}" type="presOf" srcId="{EE9B1C0E-FF5B-F64D-97DA-1EFCDC6AC4F0}" destId="{A9557D1F-C5B3-4E4A-8CE5-F4F68D65AEEB}" srcOrd="0" destOrd="0" presId="urn:microsoft.com/office/officeart/2005/8/layout/hierarchy3"/>
    <dgm:cxn modelId="{D9B809D0-53EC-42AA-BCE8-A9EFD8F5D57E}" type="presOf" srcId="{054BC13C-9C64-9E41-9173-145D9B78BD94}" destId="{EE3028E2-F2A6-A548-A078-22AA4CF2097D}" srcOrd="0" destOrd="0" presId="urn:microsoft.com/office/officeart/2005/8/layout/hierarchy3"/>
    <dgm:cxn modelId="{B64D2FD1-3575-466D-A144-EE880D69F490}" type="presOf" srcId="{FD4DD728-38B2-774B-93E8-0922AD3E17ED}" destId="{DDD7714F-70F6-4041-A377-C7AF7CC48C51}" srcOrd="0" destOrd="0" presId="urn:microsoft.com/office/officeart/2005/8/layout/hierarchy3"/>
    <dgm:cxn modelId="{8F9FC4D1-9FC2-42BE-A78F-D1DC19A52AF4}" type="presOf" srcId="{95CB294F-A2D2-EE47-AB33-C7A9CB36A488}" destId="{E5C17912-BBD8-EA48-B033-E10027B13EC4}" srcOrd="0" destOrd="0" presId="urn:microsoft.com/office/officeart/2005/8/layout/hierarchy3"/>
    <dgm:cxn modelId="{61DACED4-71B5-4AFB-96C2-0969E58BBA39}" type="presOf" srcId="{8F051BCC-AB3B-394F-ADE0-550A8288E9D1}" destId="{3EA10360-C008-6E4F-801E-D8671B796508}" srcOrd="1" destOrd="0" presId="urn:microsoft.com/office/officeart/2005/8/layout/hierarchy3"/>
    <dgm:cxn modelId="{B35CECD8-25B5-B043-BE4F-8B988CB5BE56}" srcId="{F1F5D922-A647-5945-89E1-2B1158E87E7C}" destId="{2F9FF1B4-EA6C-7C4A-A81D-BD01257A79E7}" srcOrd="1" destOrd="0" parTransId="{DA9D38D4-F370-4C44-9EDE-EC75DD5C2DFF}" sibTransId="{73A9813E-E570-3849-9A3D-EE8BC43EE56C}"/>
    <dgm:cxn modelId="{7A89F4DC-CC01-44B6-AC9C-47C31C18583A}" type="presOf" srcId="{A6D7EFB5-A92E-044B-B43F-51922C0DC9A0}" destId="{9B3581C4-2FD4-694B-98B7-571A5B50C826}" srcOrd="0" destOrd="0" presId="urn:microsoft.com/office/officeart/2005/8/layout/hierarchy3"/>
    <dgm:cxn modelId="{6446CAE3-D817-F244-A5BF-7012A89501D4}" srcId="{7A93B62C-5C6F-AC4F-8A7C-ED6B585841C1}" destId="{95F28B24-1712-6849-B4D1-E5648E216B92}" srcOrd="0" destOrd="0" parTransId="{6FA5CCA6-E064-CA4E-A237-3841FE7B18E9}" sibTransId="{85060FCB-9889-A04A-A20E-FA173D032DFF}"/>
    <dgm:cxn modelId="{B7903AE4-8E49-024E-B1CD-62002BD104ED}" srcId="{00D42E72-3F24-5446-A532-B962CD556993}" destId="{054BC13C-9C64-9E41-9173-145D9B78BD94}" srcOrd="2" destOrd="0" parTransId="{2BB9B9E4-5FE5-D147-BAFC-E8ED24A73C6D}" sibTransId="{E99AEB17-6B59-8941-83C7-A066A176A5C1}"/>
    <dgm:cxn modelId="{F60D5BE6-6D32-49BB-977A-87F19D006C02}" type="presOf" srcId="{E9A3D690-F538-1640-BA5A-DA7EF97EEB32}" destId="{9B9AE7A8-612B-0545-961B-2FB089BD92F9}" srcOrd="0" destOrd="0" presId="urn:microsoft.com/office/officeart/2005/8/layout/hierarchy3"/>
    <dgm:cxn modelId="{5F40BDEA-1B20-4BB0-8D86-1C2216014D25}" type="presOf" srcId="{2BB9B9E4-5FE5-D147-BAFC-E8ED24A73C6D}" destId="{1F173F23-D7E9-2140-98A9-81B7F6662385}" srcOrd="0" destOrd="0" presId="urn:microsoft.com/office/officeart/2005/8/layout/hierarchy3"/>
    <dgm:cxn modelId="{5CF10BF2-D720-4597-A4E7-7DDC18997564}" type="presOf" srcId="{8F051BCC-AB3B-394F-ADE0-550A8288E9D1}" destId="{07B8B408-BBEA-5347-BC4A-13FA8D964551}" srcOrd="0" destOrd="0" presId="urn:microsoft.com/office/officeart/2005/8/layout/hierarchy3"/>
    <dgm:cxn modelId="{A9126BF2-2628-48A6-92BD-94D61805EFDD}" type="presOf" srcId="{136354CD-7547-0F40-90F8-3C436C8B34AB}" destId="{0D1F2A58-F3A6-2749-A21E-35A839943671}" srcOrd="0" destOrd="0" presId="urn:microsoft.com/office/officeart/2005/8/layout/hierarchy3"/>
    <dgm:cxn modelId="{0033B0F9-E7E3-4B96-8E7B-4C4FF8C77A26}" type="presOf" srcId="{0E8CD457-DF9A-854A-B772-A66C169B0588}" destId="{8A3AFC21-FCDC-294F-83C4-28C57F26AA02}" srcOrd="0" destOrd="0" presId="urn:microsoft.com/office/officeart/2005/8/layout/hierarchy3"/>
    <dgm:cxn modelId="{D324CC36-E113-4894-8FB7-19C3F964856B}" type="presParOf" srcId="{3DA2996A-B9CC-754B-A3CD-41FF8722C935}" destId="{F9755A37-50D0-544F-94E1-A8554908B9C7}" srcOrd="0" destOrd="0" presId="urn:microsoft.com/office/officeart/2005/8/layout/hierarchy3"/>
    <dgm:cxn modelId="{B3E817A1-1DD1-4BA6-9720-EFB2737AB1AF}" type="presParOf" srcId="{F9755A37-50D0-544F-94E1-A8554908B9C7}" destId="{1BEAEB11-0E14-4840-BD0C-C5D28780C2E3}" srcOrd="0" destOrd="0" presId="urn:microsoft.com/office/officeart/2005/8/layout/hierarchy3"/>
    <dgm:cxn modelId="{D75389E5-E86A-4966-B5A7-5947C23EA13D}" type="presParOf" srcId="{1BEAEB11-0E14-4840-BD0C-C5D28780C2E3}" destId="{845ED3E6-51AD-1641-949A-0F65BC3E9D79}" srcOrd="0" destOrd="0" presId="urn:microsoft.com/office/officeart/2005/8/layout/hierarchy3"/>
    <dgm:cxn modelId="{4BD52B04-F8AD-402E-8ADE-7C7FECD2CEE3}" type="presParOf" srcId="{1BEAEB11-0E14-4840-BD0C-C5D28780C2E3}" destId="{79B777F2-00FE-FA4D-9CF1-63BDC88ED8C0}" srcOrd="1" destOrd="0" presId="urn:microsoft.com/office/officeart/2005/8/layout/hierarchy3"/>
    <dgm:cxn modelId="{64BE386E-0B9B-40E6-A06E-D79E17B15B7D}" type="presParOf" srcId="{F9755A37-50D0-544F-94E1-A8554908B9C7}" destId="{B8CE6112-F86D-E849-B514-086069D887CB}" srcOrd="1" destOrd="0" presId="urn:microsoft.com/office/officeart/2005/8/layout/hierarchy3"/>
    <dgm:cxn modelId="{007B9BE1-73FB-4F19-8F4D-7B05526E5C2E}" type="presParOf" srcId="{B8CE6112-F86D-E849-B514-086069D887CB}" destId="{CEEA02DB-4226-0A4E-9CEE-E4DF1468D4FA}" srcOrd="0" destOrd="0" presId="urn:microsoft.com/office/officeart/2005/8/layout/hierarchy3"/>
    <dgm:cxn modelId="{AB33928C-C9EF-43C8-A2FC-331477C1BCD5}" type="presParOf" srcId="{B8CE6112-F86D-E849-B514-086069D887CB}" destId="{FE0B66B4-D0F6-534A-9FA4-5FFE3999714B}" srcOrd="1" destOrd="0" presId="urn:microsoft.com/office/officeart/2005/8/layout/hierarchy3"/>
    <dgm:cxn modelId="{C303A9B0-93C3-472C-8474-E84C4C826B96}" type="presParOf" srcId="{B8CE6112-F86D-E849-B514-086069D887CB}" destId="{0D1F2A58-F3A6-2749-A21E-35A839943671}" srcOrd="2" destOrd="0" presId="urn:microsoft.com/office/officeart/2005/8/layout/hierarchy3"/>
    <dgm:cxn modelId="{8AB48C6E-8B02-4085-A86E-CE99A05F6E88}" type="presParOf" srcId="{B8CE6112-F86D-E849-B514-086069D887CB}" destId="{73301F81-1F1D-3F46-B392-A59C2C4C807C}" srcOrd="3" destOrd="0" presId="urn:microsoft.com/office/officeart/2005/8/layout/hierarchy3"/>
    <dgm:cxn modelId="{77FFF6F6-96AE-4930-820C-0831FAC97090}" type="presParOf" srcId="{B8CE6112-F86D-E849-B514-086069D887CB}" destId="{F25706D1-68D7-8C43-A6D7-5B86169F3E21}" srcOrd="4" destOrd="0" presId="urn:microsoft.com/office/officeart/2005/8/layout/hierarchy3"/>
    <dgm:cxn modelId="{C1852612-BD93-4A19-8FBD-C2C34DEA090D}" type="presParOf" srcId="{B8CE6112-F86D-E849-B514-086069D887CB}" destId="{DDD7714F-70F6-4041-A377-C7AF7CC48C51}" srcOrd="5" destOrd="0" presId="urn:microsoft.com/office/officeart/2005/8/layout/hierarchy3"/>
    <dgm:cxn modelId="{A375AE80-F142-4FCB-9E80-9A614A545302}" type="presParOf" srcId="{3DA2996A-B9CC-754B-A3CD-41FF8722C935}" destId="{F6F0469B-1C50-4B4D-BF68-CF7F3D49A7AC}" srcOrd="1" destOrd="0" presId="urn:microsoft.com/office/officeart/2005/8/layout/hierarchy3"/>
    <dgm:cxn modelId="{A64784A6-114A-4CC1-B6AA-390C2D5A37DE}" type="presParOf" srcId="{F6F0469B-1C50-4B4D-BF68-CF7F3D49A7AC}" destId="{769E2691-6716-7D43-9378-8323DC986804}" srcOrd="0" destOrd="0" presId="urn:microsoft.com/office/officeart/2005/8/layout/hierarchy3"/>
    <dgm:cxn modelId="{193AB587-0B34-4878-BF31-3487CFC4E9C5}" type="presParOf" srcId="{769E2691-6716-7D43-9378-8323DC986804}" destId="{BA133919-C9B4-1F46-8D96-28E5A05EB3DE}" srcOrd="0" destOrd="0" presId="urn:microsoft.com/office/officeart/2005/8/layout/hierarchy3"/>
    <dgm:cxn modelId="{D9D0691F-34A3-490E-8700-F61D21758663}" type="presParOf" srcId="{769E2691-6716-7D43-9378-8323DC986804}" destId="{C1CC0758-1E89-014B-BCA6-B412B5096445}" srcOrd="1" destOrd="0" presId="urn:microsoft.com/office/officeart/2005/8/layout/hierarchy3"/>
    <dgm:cxn modelId="{20A30053-D7E6-4487-B0F1-D2AEB7AD5734}" type="presParOf" srcId="{F6F0469B-1C50-4B4D-BF68-CF7F3D49A7AC}" destId="{E2153473-BC31-5845-A6D5-1BA6957C2C0E}" srcOrd="1" destOrd="0" presId="urn:microsoft.com/office/officeart/2005/8/layout/hierarchy3"/>
    <dgm:cxn modelId="{99B1C487-1862-4659-8306-9D90873C6AA7}" type="presParOf" srcId="{E2153473-BC31-5845-A6D5-1BA6957C2C0E}" destId="{A9557D1F-C5B3-4E4A-8CE5-F4F68D65AEEB}" srcOrd="0" destOrd="0" presId="urn:microsoft.com/office/officeart/2005/8/layout/hierarchy3"/>
    <dgm:cxn modelId="{6B6B665B-9B16-44B5-AAE2-0826A9A0692F}" type="presParOf" srcId="{E2153473-BC31-5845-A6D5-1BA6957C2C0E}" destId="{79124905-5F4B-C442-AA9D-A554D067E1CE}" srcOrd="1" destOrd="0" presId="urn:microsoft.com/office/officeart/2005/8/layout/hierarchy3"/>
    <dgm:cxn modelId="{4A000CD9-3E40-49EF-AB14-6A38F034CD49}" type="presParOf" srcId="{E2153473-BC31-5845-A6D5-1BA6957C2C0E}" destId="{8AECC5BC-2112-6C47-BA97-C703B279B190}" srcOrd="2" destOrd="0" presId="urn:microsoft.com/office/officeart/2005/8/layout/hierarchy3"/>
    <dgm:cxn modelId="{BE223238-81A8-4356-9F24-6D81B0BA1C99}" type="presParOf" srcId="{E2153473-BC31-5845-A6D5-1BA6957C2C0E}" destId="{6023BBE9-C729-A74F-9B11-823A1A565C70}" srcOrd="3" destOrd="0" presId="urn:microsoft.com/office/officeart/2005/8/layout/hierarchy3"/>
    <dgm:cxn modelId="{A3367A01-0A21-424C-AF30-9305C8321D9E}" type="presParOf" srcId="{E2153473-BC31-5845-A6D5-1BA6957C2C0E}" destId="{6A58B61E-B9B8-664C-AF64-AB9D200576BF}" srcOrd="4" destOrd="0" presId="urn:microsoft.com/office/officeart/2005/8/layout/hierarchy3"/>
    <dgm:cxn modelId="{A2B8C5BB-85EB-4AAB-85AC-DDCD73445A32}" type="presParOf" srcId="{E2153473-BC31-5845-A6D5-1BA6957C2C0E}" destId="{F8F89AFA-7427-B447-B5EA-897B3007A5D0}" srcOrd="5" destOrd="0" presId="urn:microsoft.com/office/officeart/2005/8/layout/hierarchy3"/>
    <dgm:cxn modelId="{956BEF48-B47E-4F77-B4E2-C4DB60322FD4}" type="presParOf" srcId="{3DA2996A-B9CC-754B-A3CD-41FF8722C935}" destId="{D5782773-546F-4B43-B653-C19630E96BA7}" srcOrd="2" destOrd="0" presId="urn:microsoft.com/office/officeart/2005/8/layout/hierarchy3"/>
    <dgm:cxn modelId="{6C6A30DA-6716-4142-9B87-C8D58AF809EC}" type="presParOf" srcId="{D5782773-546F-4B43-B653-C19630E96BA7}" destId="{640E051F-BBD0-6741-9C3C-B97A7DCE4BF5}" srcOrd="0" destOrd="0" presId="urn:microsoft.com/office/officeart/2005/8/layout/hierarchy3"/>
    <dgm:cxn modelId="{33E14EC7-BD68-4275-AE05-B7515C4315D3}" type="presParOf" srcId="{640E051F-BBD0-6741-9C3C-B97A7DCE4BF5}" destId="{07B8B408-BBEA-5347-BC4A-13FA8D964551}" srcOrd="0" destOrd="0" presId="urn:microsoft.com/office/officeart/2005/8/layout/hierarchy3"/>
    <dgm:cxn modelId="{548B2B36-86F9-44A2-923A-B6A6A3A2F788}" type="presParOf" srcId="{640E051F-BBD0-6741-9C3C-B97A7DCE4BF5}" destId="{3EA10360-C008-6E4F-801E-D8671B796508}" srcOrd="1" destOrd="0" presId="urn:microsoft.com/office/officeart/2005/8/layout/hierarchy3"/>
    <dgm:cxn modelId="{F4BB2E07-6A52-49C4-A64C-A39131FB4A70}" type="presParOf" srcId="{D5782773-546F-4B43-B653-C19630E96BA7}" destId="{4958449E-9195-834A-9D01-00FEC0F80FDB}" srcOrd="1" destOrd="0" presId="urn:microsoft.com/office/officeart/2005/8/layout/hierarchy3"/>
    <dgm:cxn modelId="{32430000-E13F-4063-9C46-7C5001C8B470}" type="presParOf" srcId="{4958449E-9195-834A-9D01-00FEC0F80FDB}" destId="{9F877505-089D-AE47-A1F1-6C24D9394F4F}" srcOrd="0" destOrd="0" presId="urn:microsoft.com/office/officeart/2005/8/layout/hierarchy3"/>
    <dgm:cxn modelId="{257E54B2-8A4A-4B02-975C-3EA2D7009DA1}" type="presParOf" srcId="{4958449E-9195-834A-9D01-00FEC0F80FDB}" destId="{6FE81644-B710-2848-8BE0-2E9C1E143939}" srcOrd="1" destOrd="0" presId="urn:microsoft.com/office/officeart/2005/8/layout/hierarchy3"/>
    <dgm:cxn modelId="{9FAB1007-F3C4-462F-ACA8-862A73598220}" type="presParOf" srcId="{4958449E-9195-834A-9D01-00FEC0F80FDB}" destId="{40E2CB40-9B00-E748-B505-5DD3E635E558}" srcOrd="2" destOrd="0" presId="urn:microsoft.com/office/officeart/2005/8/layout/hierarchy3"/>
    <dgm:cxn modelId="{02FCE3AD-2BC5-4C70-8901-2D81D4471FA2}" type="presParOf" srcId="{4958449E-9195-834A-9D01-00FEC0F80FDB}" destId="{3632657C-BFC7-224C-84FA-CA5FAF7AD56D}" srcOrd="3" destOrd="0" presId="urn:microsoft.com/office/officeart/2005/8/layout/hierarchy3"/>
    <dgm:cxn modelId="{064B22DA-CF65-4110-8D58-E982B1E1AB55}" type="presParOf" srcId="{3DA2996A-B9CC-754B-A3CD-41FF8722C935}" destId="{98B7D865-64B7-E34C-AC7A-85423EB28E74}" srcOrd="3" destOrd="0" presId="urn:microsoft.com/office/officeart/2005/8/layout/hierarchy3"/>
    <dgm:cxn modelId="{78E3CE49-3E29-49B2-8409-B67D0FB3B5F6}" type="presParOf" srcId="{98B7D865-64B7-E34C-AC7A-85423EB28E74}" destId="{6F698E34-A0C1-DB47-BA5F-E9ED61FC76FC}" srcOrd="0" destOrd="0" presId="urn:microsoft.com/office/officeart/2005/8/layout/hierarchy3"/>
    <dgm:cxn modelId="{E30E7B4A-B96F-4C44-A9BD-0DA7ACAA6EA8}" type="presParOf" srcId="{6F698E34-A0C1-DB47-BA5F-E9ED61FC76FC}" destId="{20E4A332-023C-354A-A82F-E68BD57D1F45}" srcOrd="0" destOrd="0" presId="urn:microsoft.com/office/officeart/2005/8/layout/hierarchy3"/>
    <dgm:cxn modelId="{5F66035B-3A92-40B2-A1D7-F98CFC76CCB4}" type="presParOf" srcId="{6F698E34-A0C1-DB47-BA5F-E9ED61FC76FC}" destId="{8D2DA61F-636E-4C4F-917A-A69C97043AB4}" srcOrd="1" destOrd="0" presId="urn:microsoft.com/office/officeart/2005/8/layout/hierarchy3"/>
    <dgm:cxn modelId="{0E6AA0CB-672C-4D62-B879-3786DB93D2E2}" type="presParOf" srcId="{98B7D865-64B7-E34C-AC7A-85423EB28E74}" destId="{3D423C43-8A36-9449-8EE3-38CC78B49084}" srcOrd="1" destOrd="0" presId="urn:microsoft.com/office/officeart/2005/8/layout/hierarchy3"/>
    <dgm:cxn modelId="{9CF678A1-153D-4FE3-8AF7-427490617042}" type="presParOf" srcId="{3D423C43-8A36-9449-8EE3-38CC78B49084}" destId="{96C0B8AD-0DBD-D346-8EE3-09BFB11167B9}" srcOrd="0" destOrd="0" presId="urn:microsoft.com/office/officeart/2005/8/layout/hierarchy3"/>
    <dgm:cxn modelId="{CD54B2B5-C6F8-4524-A3A7-D10F302CC1F4}" type="presParOf" srcId="{3D423C43-8A36-9449-8EE3-38CC78B49084}" destId="{DA57115A-100A-0B4A-9BAC-ABEC59ABB382}" srcOrd="1" destOrd="0" presId="urn:microsoft.com/office/officeart/2005/8/layout/hierarchy3"/>
    <dgm:cxn modelId="{449A4652-C6B7-45EC-849E-CD3327AB2490}" type="presParOf" srcId="{3D423C43-8A36-9449-8EE3-38CC78B49084}" destId="{DD922611-B3FD-504D-B7FB-01A6B7FC4849}" srcOrd="2" destOrd="0" presId="urn:microsoft.com/office/officeart/2005/8/layout/hierarchy3"/>
    <dgm:cxn modelId="{D5F1F607-E188-4438-ACE1-9B1B5383779E}" type="presParOf" srcId="{3D423C43-8A36-9449-8EE3-38CC78B49084}" destId="{3394CABE-AB99-1C4A-B9C0-729743D086F2}" srcOrd="3" destOrd="0" presId="urn:microsoft.com/office/officeart/2005/8/layout/hierarchy3"/>
    <dgm:cxn modelId="{D1120192-76FB-4643-A7E4-329AAD147460}" type="presParOf" srcId="{3DA2996A-B9CC-754B-A3CD-41FF8722C935}" destId="{4EDD79EB-12A8-3845-8B34-819F37DDE97D}" srcOrd="4" destOrd="0" presId="urn:microsoft.com/office/officeart/2005/8/layout/hierarchy3"/>
    <dgm:cxn modelId="{142B7877-EA9E-49D8-B3A8-ED685FE58B66}" type="presParOf" srcId="{4EDD79EB-12A8-3845-8B34-819F37DDE97D}" destId="{5FD2D44A-9250-6242-A721-DECC9E950A9E}" srcOrd="0" destOrd="0" presId="urn:microsoft.com/office/officeart/2005/8/layout/hierarchy3"/>
    <dgm:cxn modelId="{65AF1B1F-0D6E-490A-A503-DCC229BA7424}" type="presParOf" srcId="{5FD2D44A-9250-6242-A721-DECC9E950A9E}" destId="{8A3AFC21-FCDC-294F-83C4-28C57F26AA02}" srcOrd="0" destOrd="0" presId="urn:microsoft.com/office/officeart/2005/8/layout/hierarchy3"/>
    <dgm:cxn modelId="{C31A17D9-435C-4FB2-A04A-86C80AE4E2C1}" type="presParOf" srcId="{5FD2D44A-9250-6242-A721-DECC9E950A9E}" destId="{5627C395-5AEB-6049-AFCA-210CC7A007BA}" srcOrd="1" destOrd="0" presId="urn:microsoft.com/office/officeart/2005/8/layout/hierarchy3"/>
    <dgm:cxn modelId="{8F0BA784-309B-4B3E-AE7E-5D5AF6FEB6C9}" type="presParOf" srcId="{4EDD79EB-12A8-3845-8B34-819F37DDE97D}" destId="{B64C6DDD-FB4D-B245-AE67-CC0175529B3C}" srcOrd="1" destOrd="0" presId="urn:microsoft.com/office/officeart/2005/8/layout/hierarchy3"/>
    <dgm:cxn modelId="{E131199B-F935-448C-AA8E-F68F343E890A}" type="presParOf" srcId="{B64C6DDD-FB4D-B245-AE67-CC0175529B3C}" destId="{E976EDA8-6C28-DE4A-87DF-710404B66FFB}" srcOrd="0" destOrd="0" presId="urn:microsoft.com/office/officeart/2005/8/layout/hierarchy3"/>
    <dgm:cxn modelId="{8327ECBB-BE91-4AB0-B24D-44DD6D811259}" type="presParOf" srcId="{B64C6DDD-FB4D-B245-AE67-CC0175529B3C}" destId="{23B72943-9D2C-B447-9862-078C01E5CD48}" srcOrd="1" destOrd="0" presId="urn:microsoft.com/office/officeart/2005/8/layout/hierarchy3"/>
    <dgm:cxn modelId="{FD30A722-7C60-4DD9-83DD-E533887961AC}" type="presParOf" srcId="{B64C6DDD-FB4D-B245-AE67-CC0175529B3C}" destId="{9DD1C069-7EFF-BE4E-9BEF-C0171B20E754}" srcOrd="2" destOrd="0" presId="urn:microsoft.com/office/officeart/2005/8/layout/hierarchy3"/>
    <dgm:cxn modelId="{170EBDD6-7DEB-4103-A354-165BF198A048}" type="presParOf" srcId="{B64C6DDD-FB4D-B245-AE67-CC0175529B3C}" destId="{14B23716-2CC8-5148-A061-F33F23804BE5}" srcOrd="3" destOrd="0" presId="urn:microsoft.com/office/officeart/2005/8/layout/hierarchy3"/>
    <dgm:cxn modelId="{0F9DE7E9-24B9-48ED-A649-50110889E6D1}" type="presParOf" srcId="{B64C6DDD-FB4D-B245-AE67-CC0175529B3C}" destId="{B558153D-11A8-6142-B758-300ACA5246DD}" srcOrd="4" destOrd="0" presId="urn:microsoft.com/office/officeart/2005/8/layout/hierarchy3"/>
    <dgm:cxn modelId="{E5801006-3834-46A0-ACE0-2A2E6F6F2378}" type="presParOf" srcId="{B64C6DDD-FB4D-B245-AE67-CC0175529B3C}" destId="{5F283CA6-EFED-9B45-B629-D2FA0BF4ADCB}" srcOrd="5" destOrd="0" presId="urn:microsoft.com/office/officeart/2005/8/layout/hierarchy3"/>
    <dgm:cxn modelId="{25908211-E769-467E-B198-B3ABDF431ED4}" type="presParOf" srcId="{B64C6DDD-FB4D-B245-AE67-CC0175529B3C}" destId="{12865B71-5B1C-3140-BFB5-38937DC9BCE6}" srcOrd="6" destOrd="0" presId="urn:microsoft.com/office/officeart/2005/8/layout/hierarchy3"/>
    <dgm:cxn modelId="{00710E91-7D27-4C0B-AE56-F45DC01ECA0A}" type="presParOf" srcId="{B64C6DDD-FB4D-B245-AE67-CC0175529B3C}" destId="{ABA92FFD-011E-CD40-84AF-075B95B64B93}" srcOrd="7" destOrd="0" presId="urn:microsoft.com/office/officeart/2005/8/layout/hierarchy3"/>
    <dgm:cxn modelId="{BD2127DE-69BD-4C81-85ED-229C1F2067D9}" type="presParOf" srcId="{3DA2996A-B9CC-754B-A3CD-41FF8722C935}" destId="{BA4AF88A-9F88-3B47-A7E0-FF47907435A1}" srcOrd="5" destOrd="0" presId="urn:microsoft.com/office/officeart/2005/8/layout/hierarchy3"/>
    <dgm:cxn modelId="{98D2124A-C69F-46B7-91BA-728A2A019515}" type="presParOf" srcId="{BA4AF88A-9F88-3B47-A7E0-FF47907435A1}" destId="{73E51ADC-1E5D-264D-9298-5FB5C1963DAD}" srcOrd="0" destOrd="0" presId="urn:microsoft.com/office/officeart/2005/8/layout/hierarchy3"/>
    <dgm:cxn modelId="{209992B0-AC81-482B-9C97-5974DFF92A1C}" type="presParOf" srcId="{73E51ADC-1E5D-264D-9298-5FB5C1963DAD}" destId="{7C4B08AE-504D-5445-8927-ABADC132B1EA}" srcOrd="0" destOrd="0" presId="urn:microsoft.com/office/officeart/2005/8/layout/hierarchy3"/>
    <dgm:cxn modelId="{63BDDD82-081F-415B-83B0-6589A47192CC}" type="presParOf" srcId="{73E51ADC-1E5D-264D-9298-5FB5C1963DAD}" destId="{7E8E6DBD-621F-D641-8A93-A92DC836FF95}" srcOrd="1" destOrd="0" presId="urn:microsoft.com/office/officeart/2005/8/layout/hierarchy3"/>
    <dgm:cxn modelId="{FE51BB67-0274-4CB1-8001-09F54D816960}" type="presParOf" srcId="{BA4AF88A-9F88-3B47-A7E0-FF47907435A1}" destId="{51D245AE-8965-5241-B830-73449F62C854}" srcOrd="1" destOrd="0" presId="urn:microsoft.com/office/officeart/2005/8/layout/hierarchy3"/>
    <dgm:cxn modelId="{4E38F8E4-62A6-46C1-8618-B0AC91A44B19}" type="presParOf" srcId="{51D245AE-8965-5241-B830-73449F62C854}" destId="{6C7CCA5F-C27C-C242-A47B-5B9938F66569}" srcOrd="0" destOrd="0" presId="urn:microsoft.com/office/officeart/2005/8/layout/hierarchy3"/>
    <dgm:cxn modelId="{B3582B78-F3FE-4190-90B5-F3D0D082AE7B}" type="presParOf" srcId="{51D245AE-8965-5241-B830-73449F62C854}" destId="{9B3581C4-2FD4-694B-98B7-571A5B50C826}" srcOrd="1" destOrd="0" presId="urn:microsoft.com/office/officeart/2005/8/layout/hierarchy3"/>
    <dgm:cxn modelId="{A24BC3E3-E109-4CCC-8C51-969D7AB23881}" type="presParOf" srcId="{51D245AE-8965-5241-B830-73449F62C854}" destId="{4236FFC8-1C6E-D94D-BE64-0D9C3F213F9C}" srcOrd="2" destOrd="0" presId="urn:microsoft.com/office/officeart/2005/8/layout/hierarchy3"/>
    <dgm:cxn modelId="{BAA10BA5-9A3B-44D3-BB7A-CE1B2565A612}" type="presParOf" srcId="{51D245AE-8965-5241-B830-73449F62C854}" destId="{997B334E-E3E7-484A-94FD-9FE98B06E5D3}" srcOrd="3" destOrd="0" presId="urn:microsoft.com/office/officeart/2005/8/layout/hierarchy3"/>
    <dgm:cxn modelId="{E5E0CA6F-27D2-4B67-A309-CC5C789FFE05}" type="presParOf" srcId="{51D245AE-8965-5241-B830-73449F62C854}" destId="{1F173F23-D7E9-2140-98A9-81B7F6662385}" srcOrd="4" destOrd="0" presId="urn:microsoft.com/office/officeart/2005/8/layout/hierarchy3"/>
    <dgm:cxn modelId="{3719F010-E619-4803-B9AE-4C8DBB451713}" type="presParOf" srcId="{51D245AE-8965-5241-B830-73449F62C854}" destId="{EE3028E2-F2A6-A548-A078-22AA4CF2097D}" srcOrd="5" destOrd="0" presId="urn:microsoft.com/office/officeart/2005/8/layout/hierarchy3"/>
    <dgm:cxn modelId="{80A5C3C3-8AB9-4CE3-8F08-F24F2CF489CA}" type="presParOf" srcId="{51D245AE-8965-5241-B830-73449F62C854}" destId="{35EA8B6E-7CBA-3C46-ACBA-B28BF59A2486}" srcOrd="6" destOrd="0" presId="urn:microsoft.com/office/officeart/2005/8/layout/hierarchy3"/>
    <dgm:cxn modelId="{4DE7568A-4779-4FFE-A988-95E5DD090055}" type="presParOf" srcId="{51D245AE-8965-5241-B830-73449F62C854}" destId="{092E03E6-0390-364F-B243-BCD0C52801E2}" srcOrd="7" destOrd="0" presId="urn:microsoft.com/office/officeart/2005/8/layout/hierarchy3"/>
    <dgm:cxn modelId="{E063FD42-6D4E-4AC1-AD27-4C0318946605}" type="presParOf" srcId="{51D245AE-8965-5241-B830-73449F62C854}" destId="{5E914F32-FE04-9D4B-B1A1-C47F3DB5E6F2}" srcOrd="8" destOrd="0" presId="urn:microsoft.com/office/officeart/2005/8/layout/hierarchy3"/>
    <dgm:cxn modelId="{FAE77207-7C35-481A-AD1B-A482F9979FBD}" type="presParOf" srcId="{51D245AE-8965-5241-B830-73449F62C854}" destId="{CC575E2B-BF36-C244-BFA9-0A26DD34CB23}" srcOrd="9" destOrd="0" presId="urn:microsoft.com/office/officeart/2005/8/layout/hierarchy3"/>
    <dgm:cxn modelId="{51B9D45E-2E06-4EB0-AE9B-5D86E3107087}" type="presParOf" srcId="{3DA2996A-B9CC-754B-A3CD-41FF8722C935}" destId="{14B39D54-97F4-A642-8172-D4845DF6B17C}" srcOrd="6" destOrd="0" presId="urn:microsoft.com/office/officeart/2005/8/layout/hierarchy3"/>
    <dgm:cxn modelId="{63E9AC44-AD67-48C5-AC88-A02177E8F3B4}" type="presParOf" srcId="{14B39D54-97F4-A642-8172-D4845DF6B17C}" destId="{3ED6C7EF-24BB-7342-8D42-B1DAABDCCBDF}" srcOrd="0" destOrd="0" presId="urn:microsoft.com/office/officeart/2005/8/layout/hierarchy3"/>
    <dgm:cxn modelId="{90628F5B-151D-478C-8068-03AF9BE4CAB8}" type="presParOf" srcId="{3ED6C7EF-24BB-7342-8D42-B1DAABDCCBDF}" destId="{51CA69B9-995A-3146-AEC4-A30299EAFD91}" srcOrd="0" destOrd="0" presId="urn:microsoft.com/office/officeart/2005/8/layout/hierarchy3"/>
    <dgm:cxn modelId="{54FF3682-77A6-4349-9CCC-BB8FCB240EB2}" type="presParOf" srcId="{3ED6C7EF-24BB-7342-8D42-B1DAABDCCBDF}" destId="{A3EBC1A4-3CA1-964A-8FB8-1070D94A0A1C}" srcOrd="1" destOrd="0" presId="urn:microsoft.com/office/officeart/2005/8/layout/hierarchy3"/>
    <dgm:cxn modelId="{4F19DE64-23D5-4638-937A-45BC2B001378}" type="presParOf" srcId="{14B39D54-97F4-A642-8172-D4845DF6B17C}" destId="{A8A13AA4-94BD-1E4B-9957-85A2CC29447C}" srcOrd="1" destOrd="0" presId="urn:microsoft.com/office/officeart/2005/8/layout/hierarchy3"/>
    <dgm:cxn modelId="{27DEF8AF-F02A-4E91-95CF-85AB66204E83}" type="presParOf" srcId="{A8A13AA4-94BD-1E4B-9957-85A2CC29447C}" destId="{437448C7-8D9E-894B-8A39-BF62597BFD1F}" srcOrd="0" destOrd="0" presId="urn:microsoft.com/office/officeart/2005/8/layout/hierarchy3"/>
    <dgm:cxn modelId="{DE0DF78E-C1FD-4B5C-BD6B-F1C613EF0419}" type="presParOf" srcId="{A8A13AA4-94BD-1E4B-9957-85A2CC29447C}" destId="{80FE65BA-CA7D-9B4B-8240-226E315E8C05}" srcOrd="1" destOrd="0" presId="urn:microsoft.com/office/officeart/2005/8/layout/hierarchy3"/>
    <dgm:cxn modelId="{AF27D013-5272-4133-812C-E4F1D8FE944C}" type="presParOf" srcId="{A8A13AA4-94BD-1E4B-9957-85A2CC29447C}" destId="{09E76712-CFC8-9047-BE35-9AED4279CA14}" srcOrd="2" destOrd="0" presId="urn:microsoft.com/office/officeart/2005/8/layout/hierarchy3"/>
    <dgm:cxn modelId="{0745653A-AEF2-41DC-833F-8858AB784ED4}" type="presParOf" srcId="{A8A13AA4-94BD-1E4B-9957-85A2CC29447C}" destId="{59C8AD72-1FF0-6D4F-ABDA-EF6C6C91D979}" srcOrd="3" destOrd="0" presId="urn:microsoft.com/office/officeart/2005/8/layout/hierarchy3"/>
    <dgm:cxn modelId="{5320EB8F-0369-4124-952F-38270030D8C1}" type="presParOf" srcId="{A8A13AA4-94BD-1E4B-9957-85A2CC29447C}" destId="{4D9FE055-ADA2-6C4F-B60B-7CBC43A089E6}" srcOrd="4" destOrd="0" presId="urn:microsoft.com/office/officeart/2005/8/layout/hierarchy3"/>
    <dgm:cxn modelId="{24B08D70-5D49-4D70-8B0D-9A441C10E988}" type="presParOf" srcId="{A8A13AA4-94BD-1E4B-9957-85A2CC29447C}" destId="{E5C17912-BBD8-EA48-B033-E10027B13EC4}" srcOrd="5" destOrd="0" presId="urn:microsoft.com/office/officeart/2005/8/layout/hierarchy3"/>
    <dgm:cxn modelId="{C82A3366-1948-483F-B721-767161B060EE}" type="presParOf" srcId="{A8A13AA4-94BD-1E4B-9957-85A2CC29447C}" destId="{5DF2E0AC-F16A-7B43-A3E3-38B736183D8E}" srcOrd="6" destOrd="0" presId="urn:microsoft.com/office/officeart/2005/8/layout/hierarchy3"/>
    <dgm:cxn modelId="{3ACAAE16-A8C9-4F89-B452-AED4B75E2C32}" type="presParOf" srcId="{A8A13AA4-94BD-1E4B-9957-85A2CC29447C}" destId="{FCF6F526-FB38-FE4D-A494-4DFFD18DA82E}" srcOrd="7" destOrd="0" presId="urn:microsoft.com/office/officeart/2005/8/layout/hierarchy3"/>
    <dgm:cxn modelId="{F68FB106-B4F3-4CED-9A54-76C1A0EAC4D5}" type="presParOf" srcId="{A8A13AA4-94BD-1E4B-9957-85A2CC29447C}" destId="{FC0FD8D0-996E-6443-9AFF-FC093786F2BB}" srcOrd="8" destOrd="0" presId="urn:microsoft.com/office/officeart/2005/8/layout/hierarchy3"/>
    <dgm:cxn modelId="{7A20DE98-3AB1-4099-9486-04C8371C5624}" type="presParOf" srcId="{A8A13AA4-94BD-1E4B-9957-85A2CC29447C}" destId="{9B9AE7A8-612B-0545-961B-2FB089BD92F9}" srcOrd="9" destOrd="0" presId="urn:microsoft.com/office/officeart/2005/8/layout/hierarchy3"/>
    <dgm:cxn modelId="{540E9966-B30E-4303-9170-0E0295D0AAF6}" type="presParOf" srcId="{3DA2996A-B9CC-754B-A3CD-41FF8722C935}" destId="{AF6E4287-AEB5-7143-99D0-53C62C5C1F09}" srcOrd="7" destOrd="0" presId="urn:microsoft.com/office/officeart/2005/8/layout/hierarchy3"/>
    <dgm:cxn modelId="{8A5E0EE5-B137-4330-97AF-4E1C0EE3BABF}" type="presParOf" srcId="{AF6E4287-AEB5-7143-99D0-53C62C5C1F09}" destId="{78CFACDA-E4B9-F547-AD11-FB2DED584293}" srcOrd="0" destOrd="0" presId="urn:microsoft.com/office/officeart/2005/8/layout/hierarchy3"/>
    <dgm:cxn modelId="{BFEA256B-4C89-49CC-9067-E238D666F7D6}" type="presParOf" srcId="{78CFACDA-E4B9-F547-AD11-FB2DED584293}" destId="{04A97591-A644-7A4E-A21C-0F455A246C0B}" srcOrd="0" destOrd="0" presId="urn:microsoft.com/office/officeart/2005/8/layout/hierarchy3"/>
    <dgm:cxn modelId="{167D71ED-8DBE-473C-A7C4-1BC01991248E}" type="presParOf" srcId="{78CFACDA-E4B9-F547-AD11-FB2DED584293}" destId="{986E21F7-1EC6-6044-A4BD-94ABA22EBA0E}" srcOrd="1" destOrd="0" presId="urn:microsoft.com/office/officeart/2005/8/layout/hierarchy3"/>
    <dgm:cxn modelId="{17F30D82-3834-43AB-BFFF-3440E4A4E2D2}" type="presParOf" srcId="{AF6E4287-AEB5-7143-99D0-53C62C5C1F09}" destId="{8E02AF95-9737-1F40-9B03-D871C623D3B3}" srcOrd="1" destOrd="0" presId="urn:microsoft.com/office/officeart/2005/8/layout/hierarchy3"/>
    <dgm:cxn modelId="{FE3439C2-B7D4-44F7-89FF-3153241AA541}" type="presParOf" srcId="{8E02AF95-9737-1F40-9B03-D871C623D3B3}" destId="{B575AD4C-A0B9-C546-951C-87B42CC951D5}" srcOrd="0" destOrd="0" presId="urn:microsoft.com/office/officeart/2005/8/layout/hierarchy3"/>
    <dgm:cxn modelId="{96C6943B-1181-4684-ADE6-F8CAD88CC93C}" type="presParOf" srcId="{8E02AF95-9737-1F40-9B03-D871C623D3B3}" destId="{D314026A-2F78-F84E-8045-6675029EDD49}" srcOrd="1" destOrd="0" presId="urn:microsoft.com/office/officeart/2005/8/layout/hierarchy3"/>
    <dgm:cxn modelId="{A19437F9-9E11-4AA9-9F27-EC58A68351CF}" type="presParOf" srcId="{8E02AF95-9737-1F40-9B03-D871C623D3B3}" destId="{16E58DE1-A091-5548-8240-35067CD2D11F}" srcOrd="2" destOrd="0" presId="urn:microsoft.com/office/officeart/2005/8/layout/hierarchy3"/>
    <dgm:cxn modelId="{31EC0C0A-8D85-4D81-9E13-8A52AD0FD254}" type="presParOf" srcId="{8E02AF95-9737-1F40-9B03-D871C623D3B3}" destId="{EFCCE37F-D0FD-4444-9D80-DBC41CEF80D2}" srcOrd="3" destOrd="0" presId="urn:microsoft.com/office/officeart/2005/8/layout/hierarchy3"/>
    <dgm:cxn modelId="{4A966C04-9C50-422E-B2D1-C4691C4FFBCB}" type="presParOf" srcId="{8E02AF95-9737-1F40-9B03-D871C623D3B3}" destId="{7DDFF29B-2975-EF45-B31C-ECD72FD9ABF0}" srcOrd="4" destOrd="0" presId="urn:microsoft.com/office/officeart/2005/8/layout/hierarchy3"/>
    <dgm:cxn modelId="{FEF776C8-2178-4032-930C-A290CE02C569}" type="presParOf" srcId="{8E02AF95-9737-1F40-9B03-D871C623D3B3}" destId="{3A801272-935B-9A41-A9D1-B14936F53555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ED3E6-51AD-1641-949A-0F65BC3E9D79}">
      <dsp:nvSpPr>
        <dsp:cNvPr id="0" name=""/>
        <dsp:cNvSpPr/>
      </dsp:nvSpPr>
      <dsp:spPr>
        <a:xfrm>
          <a:off x="1063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Functional suitability</a:t>
          </a:r>
        </a:p>
      </dsp:txBody>
      <dsp:txXfrm>
        <a:off x="14147" y="273970"/>
        <a:ext cx="867251" cy="420541"/>
      </dsp:txXfrm>
    </dsp:sp>
    <dsp:sp modelId="{CEEA02DB-4226-0A4E-9CEE-E4DF1468D4FA}">
      <dsp:nvSpPr>
        <dsp:cNvPr id="0" name=""/>
        <dsp:cNvSpPr/>
      </dsp:nvSpPr>
      <dsp:spPr>
        <a:xfrm>
          <a:off x="44685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0B66B4-D0F6-534A-9FA4-5FFE3999714B}">
      <dsp:nvSpPr>
        <dsp:cNvPr id="0" name=""/>
        <dsp:cNvSpPr/>
      </dsp:nvSpPr>
      <dsp:spPr>
        <a:xfrm>
          <a:off x="179747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Functional correctness</a:t>
          </a:r>
        </a:p>
      </dsp:txBody>
      <dsp:txXfrm>
        <a:off x="192831" y="832357"/>
        <a:ext cx="688567" cy="420541"/>
      </dsp:txXfrm>
    </dsp:sp>
    <dsp:sp modelId="{0D1F2A58-F3A6-2749-A21E-35A839943671}">
      <dsp:nvSpPr>
        <dsp:cNvPr id="0" name=""/>
        <dsp:cNvSpPr/>
      </dsp:nvSpPr>
      <dsp:spPr>
        <a:xfrm>
          <a:off x="44685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301F81-1F1D-3F46-B392-A59C2C4C807C}">
      <dsp:nvSpPr>
        <dsp:cNvPr id="0" name=""/>
        <dsp:cNvSpPr/>
      </dsp:nvSpPr>
      <dsp:spPr>
        <a:xfrm>
          <a:off x="179747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282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Functional complete-ness</a:t>
          </a:r>
        </a:p>
      </dsp:txBody>
      <dsp:txXfrm>
        <a:off x="192831" y="1390744"/>
        <a:ext cx="688567" cy="420541"/>
      </dsp:txXfrm>
    </dsp:sp>
    <dsp:sp modelId="{F25706D1-68D7-8C43-A6D7-5B86169F3E21}">
      <dsp:nvSpPr>
        <dsp:cNvPr id="0" name=""/>
        <dsp:cNvSpPr/>
      </dsp:nvSpPr>
      <dsp:spPr>
        <a:xfrm>
          <a:off x="44685" y="707595"/>
          <a:ext cx="91440" cy="14518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1806"/>
              </a:lnTo>
              <a:lnTo>
                <a:pt x="135061" y="14518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D7714F-70F6-4041-A377-C7AF7CC48C51}">
      <dsp:nvSpPr>
        <dsp:cNvPr id="0" name=""/>
        <dsp:cNvSpPr/>
      </dsp:nvSpPr>
      <dsp:spPr>
        <a:xfrm>
          <a:off x="179747" y="1936047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56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Functional appropriate-ness</a:t>
          </a:r>
        </a:p>
      </dsp:txBody>
      <dsp:txXfrm>
        <a:off x="192831" y="1949131"/>
        <a:ext cx="688567" cy="420541"/>
      </dsp:txXfrm>
    </dsp:sp>
    <dsp:sp modelId="{BA133919-C9B4-1F46-8D96-28E5A05EB3DE}">
      <dsp:nvSpPr>
        <dsp:cNvPr id="0" name=""/>
        <dsp:cNvSpPr/>
      </dsp:nvSpPr>
      <dsp:spPr>
        <a:xfrm>
          <a:off x="1117838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104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Performance efficiency</a:t>
          </a:r>
        </a:p>
      </dsp:txBody>
      <dsp:txXfrm>
        <a:off x="1130922" y="273970"/>
        <a:ext cx="867251" cy="420541"/>
      </dsp:txXfrm>
    </dsp:sp>
    <dsp:sp modelId="{A9557D1F-C5B3-4E4A-8CE5-F4F68D65AEEB}">
      <dsp:nvSpPr>
        <dsp:cNvPr id="0" name=""/>
        <dsp:cNvSpPr/>
      </dsp:nvSpPr>
      <dsp:spPr>
        <a:xfrm>
          <a:off x="1161460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124905-5F4B-C442-AA9D-A554D067E1CE}">
      <dsp:nvSpPr>
        <dsp:cNvPr id="0" name=""/>
        <dsp:cNvSpPr/>
      </dsp:nvSpPr>
      <dsp:spPr>
        <a:xfrm>
          <a:off x="1296521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84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Capacity</a:t>
          </a:r>
        </a:p>
      </dsp:txBody>
      <dsp:txXfrm>
        <a:off x="1309605" y="832357"/>
        <a:ext cx="688567" cy="420541"/>
      </dsp:txXfrm>
    </dsp:sp>
    <dsp:sp modelId="{8AECC5BC-2112-6C47-BA97-C703B279B190}">
      <dsp:nvSpPr>
        <dsp:cNvPr id="0" name=""/>
        <dsp:cNvSpPr/>
      </dsp:nvSpPr>
      <dsp:spPr>
        <a:xfrm>
          <a:off x="1161460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23BBE9-C729-A74F-9B11-823A1A565C70}">
      <dsp:nvSpPr>
        <dsp:cNvPr id="0" name=""/>
        <dsp:cNvSpPr/>
      </dsp:nvSpPr>
      <dsp:spPr>
        <a:xfrm>
          <a:off x="1296521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112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Resource utilization</a:t>
          </a:r>
        </a:p>
      </dsp:txBody>
      <dsp:txXfrm>
        <a:off x="1309605" y="1390744"/>
        <a:ext cx="688567" cy="420541"/>
      </dsp:txXfrm>
    </dsp:sp>
    <dsp:sp modelId="{6A58B61E-B9B8-664C-AF64-AB9D200576BF}">
      <dsp:nvSpPr>
        <dsp:cNvPr id="0" name=""/>
        <dsp:cNvSpPr/>
      </dsp:nvSpPr>
      <dsp:spPr>
        <a:xfrm>
          <a:off x="1161460" y="707595"/>
          <a:ext cx="91440" cy="14518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1806"/>
              </a:lnTo>
              <a:lnTo>
                <a:pt x="135061" y="14518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F89AFA-7427-B447-B5EA-897B3007A5D0}">
      <dsp:nvSpPr>
        <dsp:cNvPr id="0" name=""/>
        <dsp:cNvSpPr/>
      </dsp:nvSpPr>
      <dsp:spPr>
        <a:xfrm>
          <a:off x="1296521" y="1936047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1410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Time behavior</a:t>
          </a:r>
        </a:p>
      </dsp:txBody>
      <dsp:txXfrm>
        <a:off x="1309605" y="1949131"/>
        <a:ext cx="688567" cy="420541"/>
      </dsp:txXfrm>
    </dsp:sp>
    <dsp:sp modelId="{07B8B408-BBEA-5347-BC4A-13FA8D964551}">
      <dsp:nvSpPr>
        <dsp:cNvPr id="0" name=""/>
        <dsp:cNvSpPr/>
      </dsp:nvSpPr>
      <dsp:spPr>
        <a:xfrm>
          <a:off x="2234612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209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 err="1"/>
            <a:t>Compatib-ility</a:t>
          </a:r>
          <a:endParaRPr lang="en-US" sz="1200" b="1" kern="1200" dirty="0"/>
        </a:p>
      </dsp:txBody>
      <dsp:txXfrm>
        <a:off x="2247696" y="273970"/>
        <a:ext cx="867251" cy="420541"/>
      </dsp:txXfrm>
    </dsp:sp>
    <dsp:sp modelId="{9F877505-089D-AE47-A1F1-6C24D9394F4F}">
      <dsp:nvSpPr>
        <dsp:cNvPr id="0" name=""/>
        <dsp:cNvSpPr/>
      </dsp:nvSpPr>
      <dsp:spPr>
        <a:xfrm>
          <a:off x="2278234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E81644-B710-2848-8BE0-2E9C1E143939}">
      <dsp:nvSpPr>
        <dsp:cNvPr id="0" name=""/>
        <dsp:cNvSpPr/>
      </dsp:nvSpPr>
      <dsp:spPr>
        <a:xfrm>
          <a:off x="2413296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1692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Interop-erability</a:t>
          </a:r>
          <a:endParaRPr lang="en-US" sz="1000" b="1" kern="1200" dirty="0"/>
        </a:p>
      </dsp:txBody>
      <dsp:txXfrm>
        <a:off x="2426380" y="832357"/>
        <a:ext cx="688567" cy="420541"/>
      </dsp:txXfrm>
    </dsp:sp>
    <dsp:sp modelId="{40E2CB40-9B00-E748-B505-5DD3E635E558}">
      <dsp:nvSpPr>
        <dsp:cNvPr id="0" name=""/>
        <dsp:cNvSpPr/>
      </dsp:nvSpPr>
      <dsp:spPr>
        <a:xfrm>
          <a:off x="2278234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32657C-BFC7-224C-84FA-CA5FAF7AD56D}">
      <dsp:nvSpPr>
        <dsp:cNvPr id="0" name=""/>
        <dsp:cNvSpPr/>
      </dsp:nvSpPr>
      <dsp:spPr>
        <a:xfrm>
          <a:off x="2413296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197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Co-existence</a:t>
          </a:r>
        </a:p>
      </dsp:txBody>
      <dsp:txXfrm>
        <a:off x="2426380" y="1390744"/>
        <a:ext cx="688567" cy="420541"/>
      </dsp:txXfrm>
    </dsp:sp>
    <dsp:sp modelId="{20E4A332-023C-354A-A82F-E68BD57D1F45}">
      <dsp:nvSpPr>
        <dsp:cNvPr id="0" name=""/>
        <dsp:cNvSpPr/>
      </dsp:nvSpPr>
      <dsp:spPr>
        <a:xfrm>
          <a:off x="3351386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314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Usability</a:t>
          </a:r>
        </a:p>
      </dsp:txBody>
      <dsp:txXfrm>
        <a:off x="3364470" y="273970"/>
        <a:ext cx="867251" cy="420541"/>
      </dsp:txXfrm>
    </dsp:sp>
    <dsp:sp modelId="{96C0B8AD-0DBD-D346-8EE3-09BFB11167B9}">
      <dsp:nvSpPr>
        <dsp:cNvPr id="0" name=""/>
        <dsp:cNvSpPr/>
      </dsp:nvSpPr>
      <dsp:spPr>
        <a:xfrm>
          <a:off x="3395008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57115A-100A-0B4A-9BAC-ABEC59ABB382}">
      <dsp:nvSpPr>
        <dsp:cNvPr id="0" name=""/>
        <dsp:cNvSpPr/>
      </dsp:nvSpPr>
      <dsp:spPr>
        <a:xfrm>
          <a:off x="3530070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2256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Operability </a:t>
          </a:r>
        </a:p>
      </dsp:txBody>
      <dsp:txXfrm>
        <a:off x="3543154" y="832357"/>
        <a:ext cx="688567" cy="420541"/>
      </dsp:txXfrm>
    </dsp:sp>
    <dsp:sp modelId="{DD922611-B3FD-504D-B7FB-01A6B7FC4849}">
      <dsp:nvSpPr>
        <dsp:cNvPr id="0" name=""/>
        <dsp:cNvSpPr/>
      </dsp:nvSpPr>
      <dsp:spPr>
        <a:xfrm>
          <a:off x="3395008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94CABE-AB99-1C4A-B9C0-729743D086F2}">
      <dsp:nvSpPr>
        <dsp:cNvPr id="0" name=""/>
        <dsp:cNvSpPr/>
      </dsp:nvSpPr>
      <dsp:spPr>
        <a:xfrm>
          <a:off x="3530070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253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User error protection</a:t>
          </a:r>
        </a:p>
      </dsp:txBody>
      <dsp:txXfrm>
        <a:off x="3543154" y="1390744"/>
        <a:ext cx="688567" cy="420541"/>
      </dsp:txXfrm>
    </dsp:sp>
    <dsp:sp modelId="{8A3AFC21-FCDC-294F-83C4-28C57F26AA02}">
      <dsp:nvSpPr>
        <dsp:cNvPr id="0" name=""/>
        <dsp:cNvSpPr/>
      </dsp:nvSpPr>
      <dsp:spPr>
        <a:xfrm>
          <a:off x="4468161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419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Reliability</a:t>
          </a:r>
        </a:p>
      </dsp:txBody>
      <dsp:txXfrm>
        <a:off x="4481245" y="273970"/>
        <a:ext cx="867251" cy="420541"/>
      </dsp:txXfrm>
    </dsp:sp>
    <dsp:sp modelId="{E976EDA8-6C28-DE4A-87DF-710404B66FFB}">
      <dsp:nvSpPr>
        <dsp:cNvPr id="0" name=""/>
        <dsp:cNvSpPr/>
      </dsp:nvSpPr>
      <dsp:spPr>
        <a:xfrm>
          <a:off x="4511783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B72943-9D2C-B447-9862-078C01E5CD48}">
      <dsp:nvSpPr>
        <dsp:cNvPr id="0" name=""/>
        <dsp:cNvSpPr/>
      </dsp:nvSpPr>
      <dsp:spPr>
        <a:xfrm>
          <a:off x="4646845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2820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Availability</a:t>
          </a:r>
          <a:endParaRPr lang="en-US" sz="1000" b="1" kern="1200" dirty="0"/>
        </a:p>
      </dsp:txBody>
      <dsp:txXfrm>
        <a:off x="4659929" y="832357"/>
        <a:ext cx="688567" cy="420541"/>
      </dsp:txXfrm>
    </dsp:sp>
    <dsp:sp modelId="{9DD1C069-7EFF-BE4E-9BEF-C0171B20E754}">
      <dsp:nvSpPr>
        <dsp:cNvPr id="0" name=""/>
        <dsp:cNvSpPr/>
      </dsp:nvSpPr>
      <dsp:spPr>
        <a:xfrm>
          <a:off x="4511783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B23716-2CC8-5148-A061-F33F23804BE5}">
      <dsp:nvSpPr>
        <dsp:cNvPr id="0" name=""/>
        <dsp:cNvSpPr/>
      </dsp:nvSpPr>
      <dsp:spPr>
        <a:xfrm>
          <a:off x="4646845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310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 err="1"/>
            <a:t>Recoverab-ility</a:t>
          </a:r>
          <a:endParaRPr lang="en-US" sz="1000" b="1" kern="1200" dirty="0"/>
        </a:p>
      </dsp:txBody>
      <dsp:txXfrm>
        <a:off x="4659929" y="1390744"/>
        <a:ext cx="688567" cy="420541"/>
      </dsp:txXfrm>
    </dsp:sp>
    <dsp:sp modelId="{B558153D-11A8-6142-B758-300ACA5246DD}">
      <dsp:nvSpPr>
        <dsp:cNvPr id="0" name=""/>
        <dsp:cNvSpPr/>
      </dsp:nvSpPr>
      <dsp:spPr>
        <a:xfrm>
          <a:off x="4511783" y="707595"/>
          <a:ext cx="91440" cy="14518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1806"/>
              </a:lnTo>
              <a:lnTo>
                <a:pt x="135061" y="14518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283CA6-EFED-9B45-B629-D2FA0BF4ADCB}">
      <dsp:nvSpPr>
        <dsp:cNvPr id="0" name=""/>
        <dsp:cNvSpPr/>
      </dsp:nvSpPr>
      <dsp:spPr>
        <a:xfrm>
          <a:off x="4646845" y="1936047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3384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Maturity </a:t>
          </a:r>
        </a:p>
      </dsp:txBody>
      <dsp:txXfrm>
        <a:off x="4659929" y="1949131"/>
        <a:ext cx="688567" cy="420541"/>
      </dsp:txXfrm>
    </dsp:sp>
    <dsp:sp modelId="{12865B71-5B1C-3140-BFB5-38937DC9BCE6}">
      <dsp:nvSpPr>
        <dsp:cNvPr id="0" name=""/>
        <dsp:cNvSpPr/>
      </dsp:nvSpPr>
      <dsp:spPr>
        <a:xfrm>
          <a:off x="4511783" y="707595"/>
          <a:ext cx="91440" cy="201019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010194"/>
              </a:lnTo>
              <a:lnTo>
                <a:pt x="135061" y="201019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A92FFD-011E-CD40-84AF-075B95B64B93}">
      <dsp:nvSpPr>
        <dsp:cNvPr id="0" name=""/>
        <dsp:cNvSpPr/>
      </dsp:nvSpPr>
      <dsp:spPr>
        <a:xfrm>
          <a:off x="4646845" y="2494434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3666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Fault tolerance </a:t>
          </a:r>
        </a:p>
      </dsp:txBody>
      <dsp:txXfrm>
        <a:off x="4659929" y="2507518"/>
        <a:ext cx="688567" cy="420541"/>
      </dsp:txXfrm>
    </dsp:sp>
    <dsp:sp modelId="{7C4B08AE-504D-5445-8927-ABADC132B1EA}">
      <dsp:nvSpPr>
        <dsp:cNvPr id="0" name=""/>
        <dsp:cNvSpPr/>
      </dsp:nvSpPr>
      <dsp:spPr>
        <a:xfrm>
          <a:off x="5584935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5238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ecurity </a:t>
          </a:r>
        </a:p>
      </dsp:txBody>
      <dsp:txXfrm>
        <a:off x="5598019" y="273970"/>
        <a:ext cx="867251" cy="420541"/>
      </dsp:txXfrm>
    </dsp:sp>
    <dsp:sp modelId="{6C7CCA5F-C27C-C242-A47B-5B9938F66569}">
      <dsp:nvSpPr>
        <dsp:cNvPr id="0" name=""/>
        <dsp:cNvSpPr/>
      </dsp:nvSpPr>
      <dsp:spPr>
        <a:xfrm>
          <a:off x="5628557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3581C4-2FD4-694B-98B7-571A5B50C826}">
      <dsp:nvSpPr>
        <dsp:cNvPr id="0" name=""/>
        <dsp:cNvSpPr/>
      </dsp:nvSpPr>
      <dsp:spPr>
        <a:xfrm>
          <a:off x="5763619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3948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Integrity </a:t>
          </a:r>
          <a:endParaRPr lang="en-US" sz="1000" b="1" kern="1200" dirty="0"/>
        </a:p>
      </dsp:txBody>
      <dsp:txXfrm>
        <a:off x="5776703" y="832357"/>
        <a:ext cx="688567" cy="420541"/>
      </dsp:txXfrm>
    </dsp:sp>
    <dsp:sp modelId="{4236FFC8-1C6E-D94D-BE64-0D9C3F213F9C}">
      <dsp:nvSpPr>
        <dsp:cNvPr id="0" name=""/>
        <dsp:cNvSpPr/>
      </dsp:nvSpPr>
      <dsp:spPr>
        <a:xfrm>
          <a:off x="5628557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7B334E-E3E7-484A-94FD-9FE98B06E5D3}">
      <dsp:nvSpPr>
        <dsp:cNvPr id="0" name=""/>
        <dsp:cNvSpPr/>
      </dsp:nvSpPr>
      <dsp:spPr>
        <a:xfrm>
          <a:off x="5763619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42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Confidential-ity</a:t>
          </a:r>
          <a:endParaRPr lang="en-US" sz="1000" b="1" kern="1200" dirty="0"/>
        </a:p>
      </dsp:txBody>
      <dsp:txXfrm>
        <a:off x="5776703" y="1390744"/>
        <a:ext cx="688567" cy="420541"/>
      </dsp:txXfrm>
    </dsp:sp>
    <dsp:sp modelId="{1F173F23-D7E9-2140-98A9-81B7F6662385}">
      <dsp:nvSpPr>
        <dsp:cNvPr id="0" name=""/>
        <dsp:cNvSpPr/>
      </dsp:nvSpPr>
      <dsp:spPr>
        <a:xfrm>
          <a:off x="5628557" y="707595"/>
          <a:ext cx="91440" cy="14518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1806"/>
              </a:lnTo>
              <a:lnTo>
                <a:pt x="135061" y="14518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3028E2-F2A6-A548-A078-22AA4CF2097D}">
      <dsp:nvSpPr>
        <dsp:cNvPr id="0" name=""/>
        <dsp:cNvSpPr/>
      </dsp:nvSpPr>
      <dsp:spPr>
        <a:xfrm>
          <a:off x="5763619" y="1936047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451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Non-repudiation</a:t>
          </a:r>
          <a:endParaRPr lang="en-US" sz="1000" b="1" kern="1200" dirty="0"/>
        </a:p>
      </dsp:txBody>
      <dsp:txXfrm>
        <a:off x="5776703" y="1949131"/>
        <a:ext cx="688567" cy="420541"/>
      </dsp:txXfrm>
    </dsp:sp>
    <dsp:sp modelId="{35EA8B6E-7CBA-3C46-ACBA-B28BF59A2486}">
      <dsp:nvSpPr>
        <dsp:cNvPr id="0" name=""/>
        <dsp:cNvSpPr/>
      </dsp:nvSpPr>
      <dsp:spPr>
        <a:xfrm>
          <a:off x="5628557" y="707595"/>
          <a:ext cx="91440" cy="201019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010194"/>
              </a:lnTo>
              <a:lnTo>
                <a:pt x="135061" y="201019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2E03E6-0390-364F-B243-BCD0C52801E2}">
      <dsp:nvSpPr>
        <dsp:cNvPr id="0" name=""/>
        <dsp:cNvSpPr/>
      </dsp:nvSpPr>
      <dsp:spPr>
        <a:xfrm>
          <a:off x="5763619" y="2494434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479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Accountab-ility</a:t>
          </a:r>
          <a:endParaRPr lang="en-US" sz="1000" b="1" kern="1200" dirty="0"/>
        </a:p>
      </dsp:txBody>
      <dsp:txXfrm>
        <a:off x="5776703" y="2507518"/>
        <a:ext cx="688567" cy="420541"/>
      </dsp:txXfrm>
    </dsp:sp>
    <dsp:sp modelId="{5E914F32-FE04-9D4B-B1A1-C47F3DB5E6F2}">
      <dsp:nvSpPr>
        <dsp:cNvPr id="0" name=""/>
        <dsp:cNvSpPr/>
      </dsp:nvSpPr>
      <dsp:spPr>
        <a:xfrm>
          <a:off x="5628557" y="707595"/>
          <a:ext cx="91440" cy="256858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68581"/>
              </a:lnTo>
              <a:lnTo>
                <a:pt x="135061" y="256858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575E2B-BF36-C244-BFA9-0A26DD34CB23}">
      <dsp:nvSpPr>
        <dsp:cNvPr id="0" name=""/>
        <dsp:cNvSpPr/>
      </dsp:nvSpPr>
      <dsp:spPr>
        <a:xfrm>
          <a:off x="5763619" y="3052822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507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Authent-icity</a:t>
          </a:r>
          <a:endParaRPr lang="en-US" sz="1000" b="1" kern="1200" dirty="0"/>
        </a:p>
      </dsp:txBody>
      <dsp:txXfrm>
        <a:off x="5776703" y="3065906"/>
        <a:ext cx="688567" cy="420541"/>
      </dsp:txXfrm>
    </dsp:sp>
    <dsp:sp modelId="{51CA69B9-995A-3146-AEC4-A30299EAFD91}">
      <dsp:nvSpPr>
        <dsp:cNvPr id="0" name=""/>
        <dsp:cNvSpPr/>
      </dsp:nvSpPr>
      <dsp:spPr>
        <a:xfrm>
          <a:off x="6701710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628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Maintain-ability</a:t>
          </a:r>
        </a:p>
      </dsp:txBody>
      <dsp:txXfrm>
        <a:off x="6714794" y="273970"/>
        <a:ext cx="867251" cy="420541"/>
      </dsp:txXfrm>
    </dsp:sp>
    <dsp:sp modelId="{437448C7-8D9E-894B-8A39-BF62597BFD1F}">
      <dsp:nvSpPr>
        <dsp:cNvPr id="0" name=""/>
        <dsp:cNvSpPr/>
      </dsp:nvSpPr>
      <dsp:spPr>
        <a:xfrm>
          <a:off x="6745332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FE65BA-CA7D-9B4B-8240-226E315E8C05}">
      <dsp:nvSpPr>
        <dsp:cNvPr id="0" name=""/>
        <dsp:cNvSpPr/>
      </dsp:nvSpPr>
      <dsp:spPr>
        <a:xfrm>
          <a:off x="6880394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5358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Modularity</a:t>
          </a:r>
          <a:endParaRPr lang="en-US" sz="1000" b="1" kern="1200" dirty="0"/>
        </a:p>
      </dsp:txBody>
      <dsp:txXfrm>
        <a:off x="6893478" y="832357"/>
        <a:ext cx="688567" cy="420541"/>
      </dsp:txXfrm>
    </dsp:sp>
    <dsp:sp modelId="{09E76712-CFC8-9047-BE35-9AED4279CA14}">
      <dsp:nvSpPr>
        <dsp:cNvPr id="0" name=""/>
        <dsp:cNvSpPr/>
      </dsp:nvSpPr>
      <dsp:spPr>
        <a:xfrm>
          <a:off x="6745332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C8AD72-1FF0-6D4F-ABDA-EF6C6C91D979}">
      <dsp:nvSpPr>
        <dsp:cNvPr id="0" name=""/>
        <dsp:cNvSpPr/>
      </dsp:nvSpPr>
      <dsp:spPr>
        <a:xfrm>
          <a:off x="6880394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5641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 err="1"/>
            <a:t>Reuseability</a:t>
          </a:r>
          <a:endParaRPr lang="en-US" sz="1000" b="1" kern="1200" dirty="0"/>
        </a:p>
      </dsp:txBody>
      <dsp:txXfrm>
        <a:off x="6893478" y="1390744"/>
        <a:ext cx="688567" cy="420541"/>
      </dsp:txXfrm>
    </dsp:sp>
    <dsp:sp modelId="{4D9FE055-ADA2-6C4F-B60B-7CBC43A089E6}">
      <dsp:nvSpPr>
        <dsp:cNvPr id="0" name=""/>
        <dsp:cNvSpPr/>
      </dsp:nvSpPr>
      <dsp:spPr>
        <a:xfrm>
          <a:off x="6745332" y="707595"/>
          <a:ext cx="91440" cy="14518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1806"/>
              </a:lnTo>
              <a:lnTo>
                <a:pt x="135061" y="14518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C17912-BBD8-EA48-B033-E10027B13EC4}">
      <dsp:nvSpPr>
        <dsp:cNvPr id="0" name=""/>
        <dsp:cNvSpPr/>
      </dsp:nvSpPr>
      <dsp:spPr>
        <a:xfrm>
          <a:off x="6880394" y="1936047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5923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 err="1"/>
            <a:t>Modifiab-ility</a:t>
          </a:r>
          <a:endParaRPr lang="en-US" sz="1000" b="1" kern="1200" dirty="0"/>
        </a:p>
      </dsp:txBody>
      <dsp:txXfrm>
        <a:off x="6893478" y="1949131"/>
        <a:ext cx="688567" cy="420541"/>
      </dsp:txXfrm>
    </dsp:sp>
    <dsp:sp modelId="{5DF2E0AC-F16A-7B43-A3E3-38B736183D8E}">
      <dsp:nvSpPr>
        <dsp:cNvPr id="0" name=""/>
        <dsp:cNvSpPr/>
      </dsp:nvSpPr>
      <dsp:spPr>
        <a:xfrm>
          <a:off x="6745332" y="707595"/>
          <a:ext cx="91440" cy="201019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010194"/>
              </a:lnTo>
              <a:lnTo>
                <a:pt x="135061" y="201019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F6F526-FB38-FE4D-A494-4DFFD18DA82E}">
      <dsp:nvSpPr>
        <dsp:cNvPr id="0" name=""/>
        <dsp:cNvSpPr/>
      </dsp:nvSpPr>
      <dsp:spPr>
        <a:xfrm>
          <a:off x="6880394" y="2494434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6205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Testability</a:t>
          </a:r>
        </a:p>
      </dsp:txBody>
      <dsp:txXfrm>
        <a:off x="6893478" y="2507518"/>
        <a:ext cx="688567" cy="420541"/>
      </dsp:txXfrm>
    </dsp:sp>
    <dsp:sp modelId="{FC0FD8D0-996E-6443-9AFF-FC093786F2BB}">
      <dsp:nvSpPr>
        <dsp:cNvPr id="0" name=""/>
        <dsp:cNvSpPr/>
      </dsp:nvSpPr>
      <dsp:spPr>
        <a:xfrm>
          <a:off x="6745332" y="707595"/>
          <a:ext cx="91440" cy="256858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68581"/>
              </a:lnTo>
              <a:lnTo>
                <a:pt x="135061" y="256858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9AE7A8-612B-0545-961B-2FB089BD92F9}">
      <dsp:nvSpPr>
        <dsp:cNvPr id="0" name=""/>
        <dsp:cNvSpPr/>
      </dsp:nvSpPr>
      <dsp:spPr>
        <a:xfrm>
          <a:off x="6880394" y="3052822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6487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 err="1"/>
            <a:t>Analyzab-ility</a:t>
          </a:r>
          <a:endParaRPr lang="en-US" sz="1000" b="1" kern="1200" dirty="0"/>
        </a:p>
      </dsp:txBody>
      <dsp:txXfrm>
        <a:off x="6893478" y="3065906"/>
        <a:ext cx="688567" cy="420541"/>
      </dsp:txXfrm>
    </dsp:sp>
    <dsp:sp modelId="{04A97591-A644-7A4E-A21C-0F455A246C0B}">
      <dsp:nvSpPr>
        <dsp:cNvPr id="0" name=""/>
        <dsp:cNvSpPr/>
      </dsp:nvSpPr>
      <dsp:spPr>
        <a:xfrm>
          <a:off x="7818484" y="260886"/>
          <a:ext cx="893419" cy="4467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733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Portability</a:t>
          </a:r>
        </a:p>
      </dsp:txBody>
      <dsp:txXfrm>
        <a:off x="7831568" y="273970"/>
        <a:ext cx="867251" cy="420541"/>
      </dsp:txXfrm>
    </dsp:sp>
    <dsp:sp modelId="{B575AD4C-A0B9-C546-951C-87B42CC951D5}">
      <dsp:nvSpPr>
        <dsp:cNvPr id="0" name=""/>
        <dsp:cNvSpPr/>
      </dsp:nvSpPr>
      <dsp:spPr>
        <a:xfrm>
          <a:off x="7862106" y="707595"/>
          <a:ext cx="91440" cy="33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5032"/>
              </a:lnTo>
              <a:lnTo>
                <a:pt x="135061" y="335032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14026A-2F78-F84E-8045-6675029EDD49}">
      <dsp:nvSpPr>
        <dsp:cNvPr id="0" name=""/>
        <dsp:cNvSpPr/>
      </dsp:nvSpPr>
      <dsp:spPr>
        <a:xfrm>
          <a:off x="7997168" y="819273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676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 err="1"/>
            <a:t>Installability</a:t>
          </a:r>
          <a:endParaRPr lang="en-US" sz="1000" b="1" kern="1200" dirty="0"/>
        </a:p>
      </dsp:txBody>
      <dsp:txXfrm>
        <a:off x="8010252" y="832357"/>
        <a:ext cx="688567" cy="420541"/>
      </dsp:txXfrm>
    </dsp:sp>
    <dsp:sp modelId="{16E58DE1-A091-5548-8240-35067CD2D11F}">
      <dsp:nvSpPr>
        <dsp:cNvPr id="0" name=""/>
        <dsp:cNvSpPr/>
      </dsp:nvSpPr>
      <dsp:spPr>
        <a:xfrm>
          <a:off x="7862106" y="707595"/>
          <a:ext cx="91440" cy="8934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93419"/>
              </a:lnTo>
              <a:lnTo>
                <a:pt x="135061" y="89341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CCE37F-D0FD-4444-9D80-DBC41CEF80D2}">
      <dsp:nvSpPr>
        <dsp:cNvPr id="0" name=""/>
        <dsp:cNvSpPr/>
      </dsp:nvSpPr>
      <dsp:spPr>
        <a:xfrm>
          <a:off x="7997168" y="1377660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7051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Replace-ability</a:t>
          </a:r>
        </a:p>
      </dsp:txBody>
      <dsp:txXfrm>
        <a:off x="8010252" y="1390744"/>
        <a:ext cx="688567" cy="420541"/>
      </dsp:txXfrm>
    </dsp:sp>
    <dsp:sp modelId="{7DDFF29B-2975-EF45-B31C-ECD72FD9ABF0}">
      <dsp:nvSpPr>
        <dsp:cNvPr id="0" name=""/>
        <dsp:cNvSpPr/>
      </dsp:nvSpPr>
      <dsp:spPr>
        <a:xfrm>
          <a:off x="7862106" y="707595"/>
          <a:ext cx="91440" cy="14518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1806"/>
              </a:lnTo>
              <a:lnTo>
                <a:pt x="135061" y="1451806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801272-935B-9A41-A9D1-B14936F53555}">
      <dsp:nvSpPr>
        <dsp:cNvPr id="0" name=""/>
        <dsp:cNvSpPr/>
      </dsp:nvSpPr>
      <dsp:spPr>
        <a:xfrm>
          <a:off x="7997168" y="1936047"/>
          <a:ext cx="714735" cy="4467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7333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Adaptability</a:t>
          </a:r>
        </a:p>
      </dsp:txBody>
      <dsp:txXfrm>
        <a:off x="8010252" y="1949131"/>
        <a:ext cx="688567" cy="4205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BC77-116B-4DD9-9558-E808B2DB27E4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DF91E-843B-4E63-BBA0-060A7767A4CE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81617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952AD-A3AF-4587-90FE-72F445800AAE}" type="datetimeFigureOut">
              <a:rPr lang="en-AU" smtClean="0"/>
              <a:t>12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C9F81-DB2C-42C9-B6F6-C5F374D31FE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46627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26896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60438" y="1143000"/>
            <a:ext cx="4937125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47374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</a:t>
            </a:r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pendability is the ability to deliver service that can justifiably be trusted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ailability: readiness for correct service.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iability: continuity of correct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fety: absence of catastrophic consequences on the user(s) and the enviro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grity: absence of improper system alt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ability: ability to undergo modifications and repai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36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36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Security is a composite of the attributes of confidentiality, integrity, and availability,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29316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AU" dirty="0"/>
              <a:t>International standards for evaluation of software quality</a:t>
            </a:r>
          </a:p>
          <a:p>
            <a:pPr marL="171450" indent="-171450">
              <a:buFont typeface="Arial"/>
              <a:buChar char="•"/>
            </a:pPr>
            <a:r>
              <a:rPr lang="en-AU" dirty="0"/>
              <a:t>Blockchain has good and bad qual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>
                <a:solidFill>
                  <a:prstClr val="black"/>
                </a:solidFill>
              </a:rPr>
              <a:pPr/>
              <a:t>5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566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12966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/>
              <a:t>Engineer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/>
              <a:t>	1) create </a:t>
            </a:r>
            <a:r>
              <a:rPr lang="en-AU" baseline="0" dirty="0"/>
              <a:t>th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baseline="0" dirty="0"/>
              <a:t>	2) create justification</a:t>
            </a:r>
            <a:endParaRPr lang="en-A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/>
              <a:t>Requirement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dirty="0"/>
              <a:t>	Especially for </a:t>
            </a:r>
            <a:r>
              <a:rPr lang="en-AU" sz="1200" dirty="0"/>
              <a:t>critical requirements for Safety, Security, 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dirty="0"/>
              <a:t>Rationale:</a:t>
            </a:r>
          </a:p>
          <a:p>
            <a:pPr lvl="2"/>
            <a:r>
              <a:rPr lang="en-AU" sz="2000" dirty="0"/>
              <a:t>Regulatory/legal demand for explicit rationale</a:t>
            </a:r>
          </a:p>
          <a:p>
            <a:pPr lvl="2"/>
            <a:r>
              <a:rPr lang="en-AU" sz="2000" dirty="0"/>
              <a:t>Usually with standards/requirements on the rationa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9570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b="1" dirty="0"/>
              <a:t>Requirements Validity:</a:t>
            </a:r>
            <a:r>
              <a:rPr lang="en-AU" dirty="0"/>
              <a:t> What are needs for usage situations, and how are they specified?</a:t>
            </a:r>
          </a:p>
          <a:p>
            <a:pPr marL="514350" indent="-514350">
              <a:buFont typeface="+mj-lt"/>
              <a:buAutoNum type="arabicPeriod"/>
            </a:pPr>
            <a:endParaRPr lang="en-AU" sz="800" dirty="0"/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Requirements Decomposition:</a:t>
            </a:r>
            <a:r>
              <a:rPr lang="en-AU" dirty="0"/>
              <a:t> How are requirement specifications decomposed?</a:t>
            </a:r>
          </a:p>
          <a:p>
            <a:pPr marL="514350" indent="-514350">
              <a:buFont typeface="+mj-lt"/>
              <a:buAutoNum type="arabicPeriod"/>
            </a:pPr>
            <a:endParaRPr lang="en-AU" sz="800" dirty="0"/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Operational Principles:</a:t>
            </a:r>
            <a:r>
              <a:rPr lang="en-AU" dirty="0"/>
              <a:t> Does a design satisfy a requirements specification?</a:t>
            </a:r>
          </a:p>
          <a:p>
            <a:pPr marL="514350" indent="-514350">
              <a:buFont typeface="+mj-lt"/>
              <a:buAutoNum type="arabicPeriod"/>
            </a:pPr>
            <a:endParaRPr lang="en-AU" sz="800" dirty="0"/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Design Decomposition:</a:t>
            </a:r>
            <a:r>
              <a:rPr lang="en-AU" dirty="0"/>
              <a:t> How are designs decomposed?</a:t>
            </a:r>
          </a:p>
          <a:p>
            <a:pPr marL="514350" indent="-514350">
              <a:buFont typeface="+mj-lt"/>
              <a:buAutoNum type="arabicPeriod"/>
            </a:pPr>
            <a:endParaRPr lang="en-AU" sz="800" dirty="0"/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Design Validity:</a:t>
            </a:r>
            <a:r>
              <a:rPr lang="en-AU" dirty="0"/>
              <a:t> What are artefacts &amp; behaviours, and how are they represented in designs?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E89EDB-AD1D-4C76-979C-B76314BEF724}" type="slidenum">
              <a:rPr lang="en-AU" smtClean="0"/>
              <a:pPr>
                <a:defRPr/>
              </a:pPr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32974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96215-5E4C-414D-A8DB-C38AA7CF7C2A}" type="slidenum">
              <a:rPr lang="en-AU" smtClean="0"/>
              <a:pPr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362330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ssage of this </a:t>
            </a:r>
            <a:r>
              <a:rPr lang="en-US"/>
              <a:t>slide: all </a:t>
            </a:r>
            <a:r>
              <a:rPr lang="en-US" dirty="0"/>
              <a:t>of these aspects have been addressed.</a:t>
            </a:r>
          </a:p>
          <a:p>
            <a:r>
              <a:rPr lang="en-US" dirty="0"/>
              <a:t>(Newer work exists, but this message remains true.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690758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DI – constraints data item</a:t>
            </a:r>
          </a:p>
          <a:p>
            <a:r>
              <a:rPr lang="en-US" dirty="0"/>
              <a:t>IVP – Integrity Validation Procedur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1C9F81-DB2C-42C9-B6F6-C5F374D31FE4}" type="slidenum">
              <a:rPr lang="en-AU" smtClean="0"/>
              <a:t>2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82872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2357822"/>
            <a:ext cx="5063046" cy="1910434"/>
          </a:xfrm>
        </p:spPr>
        <p:txBody>
          <a:bodyPr anchor="t">
            <a:normAutofit/>
          </a:bodyPr>
          <a:lstStyle>
            <a:lvl1pPr algn="l">
              <a:defRPr sz="3200"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502034"/>
            <a:ext cx="8035200" cy="65972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24CE11F-8AFC-46C7-ADA1-33DFCEA3E511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8">
            <a:extLst>
              <a:ext uri="{FF2B5EF4-FFF2-40B4-BE49-F238E27FC236}">
                <a16:creationId xmlns:a16="http://schemas.microsoft.com/office/drawing/2014/main" id="{B92486F8-C720-4BE1-933E-699878A306A5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5256000"/>
            <a:ext cx="8035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pic>
        <p:nvPicPr>
          <p:cNvPr id="10" name="Content Placeholder 5">
            <a:extLst>
              <a:ext uri="{FF2B5EF4-FFF2-40B4-BE49-F238E27FC236}">
                <a16:creationId xmlns:a16="http://schemas.microsoft.com/office/drawing/2014/main" id="{C1274533-273C-4384-9661-F2AACF1EC5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245" y="0"/>
            <a:ext cx="2782955" cy="3627438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E698EC1D-61F7-4462-BDF9-B30D251FEC41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445A93-2278-4E94-8AD7-E4FD0393935D}"/>
              </a:ext>
            </a:extLst>
          </p:cNvPr>
          <p:cNvSpPr txBox="1"/>
          <p:nvPr userDrawn="1"/>
        </p:nvSpPr>
        <p:spPr>
          <a:xfrm>
            <a:off x="648000" y="997349"/>
            <a:ext cx="5063046" cy="120032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600" dirty="0"/>
              <a:t>Software Architecture for Blockchain Application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33598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684CF-A522-4762-81FE-7268A18CA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06AD781-7D9E-4357-8E0B-277122AFB5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717040"/>
            <a:ext cx="7953081" cy="3480725"/>
          </a:xfrm>
        </p:spPr>
        <p:txBody>
          <a:bodyPr/>
          <a:lstStyle>
            <a:lvl1pPr>
              <a:lnSpc>
                <a:spcPct val="120000"/>
              </a:lnSpc>
              <a:defRPr sz="1500"/>
            </a:lvl1pPr>
            <a:lvl2pPr marL="301601" indent="-150800">
              <a:defRPr sz="1333"/>
            </a:lvl2pPr>
            <a:lvl3pPr marL="525156" indent="-150800">
              <a:defRPr/>
            </a:lvl3pPr>
            <a:lvl4pPr marL="748711" indent="-150800">
              <a:defRPr/>
            </a:lvl4pPr>
            <a:lvl5pPr marL="972266" indent="-149478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24C13-1A78-49C1-860A-6E5637FD4E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720DBF5-7108-4484-85DA-7B6ADC23B3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221794"/>
            <a:ext cx="7953081" cy="396052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de-DE" sz="1167" dirty="0">
                <a:solidFill>
                  <a:srgbClr val="000000"/>
                </a:solidFill>
              </a:rPr>
              <a:t>Untertitel</a:t>
            </a:r>
            <a:endParaRPr lang="en-US" dirty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96D6B03C-1C71-47B2-9F08-06EEB1677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886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1" y="1272399"/>
            <a:ext cx="7911799" cy="3695843"/>
          </a:xfrm>
        </p:spPr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97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A8FE5B1-857A-4F74-BC93-2B434C346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648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4419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D58AA-BE7B-4223-BD84-6FE22DEB64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8000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775D-A963-4EDD-A851-D9DDAD8EF7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1082" y="1227138"/>
            <a:ext cx="3886200" cy="3883342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C2145B-8A2C-4935-B990-5B13C54810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2F3C626-AD4A-44A8-925F-B70E6B6E2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718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8187F0-1597-414C-8CB5-4B97FBD7E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389"/>
            </a:lvl2pPr>
            <a:lvl3pPr>
              <a:defRPr sz="1250"/>
            </a:lvl3pPr>
            <a:lvl4pPr>
              <a:defRPr sz="1250"/>
            </a:lvl4pPr>
            <a:lvl5pPr marL="872943" indent="-185171">
              <a:defRPr sz="125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004F5C3-4454-4773-BD71-9D32B253AC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51E7C4-C652-42D2-8105-275060EAD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49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61 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E9022-4E91-4AE1-9B32-52DF7FA0F1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669" y="2532263"/>
            <a:ext cx="5052378" cy="148603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en-US" dirty="0"/>
              <a:t>Divider Title </a:t>
            </a:r>
            <a:endParaRPr lang="en-AU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72F628-EE80-4E51-B88E-558820590E23}"/>
              </a:ext>
            </a:extLst>
          </p:cNvPr>
          <p:cNvSpPr/>
          <p:nvPr userDrawn="1"/>
        </p:nvSpPr>
        <p:spPr bwMode="auto">
          <a:xfrm>
            <a:off x="0" y="2"/>
            <a:ext cx="595309" cy="2275876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3EDBF35F-9A23-45C4-A334-ECDC5ACAE03E}"/>
              </a:ext>
            </a:extLst>
          </p:cNvPr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648000" y="2271600"/>
            <a:ext cx="5063046" cy="1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312995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9502F-080B-434D-B6E6-152AABCB560F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D50F91F7-3962-47B6-A740-54D17721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33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62470-86A5-4195-80DB-B5C3FDDF80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7" name="Foliennummernplatzhalter 11">
            <a:extLst>
              <a:ext uri="{FF2B5EF4-FFF2-40B4-BE49-F238E27FC236}">
                <a16:creationId xmlns:a16="http://schemas.microsoft.com/office/drawing/2014/main" id="{A145DF43-3AFB-4B08-8277-9F0BD598F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770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726B2-D786-49F1-B99A-EF1C103B31C0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8" name="Foliennummernplatzhalter 11">
            <a:extLst>
              <a:ext uri="{FF2B5EF4-FFF2-40B4-BE49-F238E27FC236}">
                <a16:creationId xmlns:a16="http://schemas.microsoft.com/office/drawing/2014/main" id="{049CFC74-99D6-4F22-8542-E70D329B6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691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12EB0-E6BF-41F8-B6E1-CFC97764D9CE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10" name="Foliennummernplatzhalter 11">
            <a:extLst>
              <a:ext uri="{FF2B5EF4-FFF2-40B4-BE49-F238E27FC236}">
                <a16:creationId xmlns:a16="http://schemas.microsoft.com/office/drawing/2014/main" id="{B1AE8EB4-0F6C-41D4-B998-3226084E8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282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FFAA5-3BFD-4C96-B21F-6F845E82C84D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6" name="Foliennummernplatzhalter 11">
            <a:extLst>
              <a:ext uri="{FF2B5EF4-FFF2-40B4-BE49-F238E27FC236}">
                <a16:creationId xmlns:a16="http://schemas.microsoft.com/office/drawing/2014/main" id="{7248DA4B-7E4B-4F1F-B682-7B8AA7DA1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36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F8FFE0-C8CD-42A1-8DD9-C76BA052DCA5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 </a:t>
            </a:r>
            <a:endParaRPr lang="de-DE" altLang="de-DE" b="0"/>
          </a:p>
        </p:txBody>
      </p:sp>
      <p:sp>
        <p:nvSpPr>
          <p:cNvPr id="5" name="Foliennummernplatzhalter 11">
            <a:extLst>
              <a:ext uri="{FF2B5EF4-FFF2-40B4-BE49-F238E27FC236}">
                <a16:creationId xmlns:a16="http://schemas.microsoft.com/office/drawing/2014/main" id="{7EB115A6-CF30-4E9B-B360-6C0095A07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239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E1F5F21-E954-4847-846B-045230515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726441"/>
            <a:ext cx="6631640" cy="304272"/>
          </a:xfrm>
        </p:spPr>
        <p:txBody>
          <a:bodyPr/>
          <a:lstStyle>
            <a:lvl1pPr marL="0" indent="0">
              <a:buNone/>
              <a:defRPr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/>
          <a:lstStyle/>
          <a:p>
            <a:r>
              <a:rPr lang="en-AU"/>
              <a:t> 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10600" y="5368968"/>
            <a:ext cx="2057400" cy="224836"/>
          </a:xfrm>
          <a:prstGeom prst="rect">
            <a:avLst/>
          </a:prstGeom>
        </p:spPr>
        <p:txBody>
          <a:bodyPr/>
          <a:lstStyle/>
          <a:p>
            <a:fld id="{FFF7CBAA-22EA-41CE-9725-C57ED0CEBC27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52F682-67C7-4415-819A-A96065C12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287999"/>
            <a:ext cx="6631640" cy="43844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8009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287999"/>
            <a:ext cx="79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295999"/>
            <a:ext cx="7920000" cy="3845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8000" y="5368406"/>
            <a:ext cx="20574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DB04BBE-FDA9-44A1-8AD3-8FE5383857F3}" type="datetime5">
              <a:rPr lang="en-US" smtClean="0"/>
              <a:t>12-Aug-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368406"/>
            <a:ext cx="3086100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 altLang="de-DE"/>
              <a:t> </a:t>
            </a:r>
            <a:endParaRPr lang="de-DE" alt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D384E0D-9AC9-41DC-849D-1CC5736F586D}"/>
              </a:ext>
            </a:extLst>
          </p:cNvPr>
          <p:cNvSpPr/>
          <p:nvPr userDrawn="1"/>
        </p:nvSpPr>
        <p:spPr bwMode="auto">
          <a:xfrm>
            <a:off x="0" y="288000"/>
            <a:ext cx="594000" cy="792085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Line 8">
            <a:extLst>
              <a:ext uri="{FF2B5EF4-FFF2-40B4-BE49-F238E27FC236}">
                <a16:creationId xmlns:a16="http://schemas.microsoft.com/office/drawing/2014/main" id="{CCDD4F84-4026-4CAF-BBF5-957748266100}"/>
              </a:ext>
            </a:extLst>
          </p:cNvPr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648000" y="1080000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2C204FF9-462A-4CC2-8819-8E1D4A5FE63F}"/>
              </a:ext>
            </a:extLst>
          </p:cNvPr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648000" y="5255446"/>
            <a:ext cx="792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000">
              <a:latin typeface="+mn-lt"/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581D833-1798-4FBC-87E5-53CEAD642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12882" y="5368406"/>
            <a:ext cx="1855118" cy="2248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F98C0B-273E-428A-ABCF-EBED2BA251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229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harvardmagazine.com/2000/01/code-is-law-html" TargetMode="Externa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aohub.org/explainer.html" TargetMode="Externa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groups.csail.mit.edu/ana/Publications/PubPDFs/A%20Comparison%20of%20Commercial%20and%20Military%20Computer%20Security%20Policies.pdf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1605.05438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sa.gov/pdf/636745main_day_3-algirdas_avizienis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fluree/blockchain-for-2018-and-beyond-a-growing-list-of-blockchain-use-cases-37db7c19fb99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Dependability and Security 1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EB5737EC-6B0F-48A4-822F-8406F637EBE0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AU" sz="2400" dirty="0"/>
              <a:t>Distinguishes engineering from e.g. architecture, building</a:t>
            </a:r>
          </a:p>
          <a:p>
            <a:pPr lvl="1"/>
            <a:endParaRPr lang="en-AU" sz="2100" dirty="0"/>
          </a:p>
          <a:p>
            <a:r>
              <a:rPr lang="en-AU" sz="2400" dirty="0"/>
              <a:t>Assurance is…</a:t>
            </a:r>
          </a:p>
          <a:p>
            <a:pPr lvl="1"/>
            <a:r>
              <a:rPr lang="en-AU" sz="2100" dirty="0"/>
              <a:t>A claim that an </a:t>
            </a:r>
            <a:r>
              <a:rPr lang="en-AU" sz="2100" b="1" dirty="0">
                <a:solidFill>
                  <a:srgbClr val="FFC000"/>
                </a:solidFill>
              </a:rPr>
              <a:t>artefact</a:t>
            </a:r>
            <a:r>
              <a:rPr lang="en-AU" sz="2100" dirty="0">
                <a:solidFill>
                  <a:srgbClr val="FFC000"/>
                </a:solidFill>
              </a:rPr>
              <a:t> </a:t>
            </a:r>
            <a:r>
              <a:rPr lang="en-AU" sz="2100" dirty="0"/>
              <a:t>meets key </a:t>
            </a:r>
            <a:r>
              <a:rPr lang="en-AU" sz="2100" b="1" dirty="0">
                <a:solidFill>
                  <a:srgbClr val="7030A0"/>
                </a:solidFill>
              </a:rPr>
              <a:t>requirements</a:t>
            </a:r>
          </a:p>
          <a:p>
            <a:pPr lvl="1"/>
            <a:r>
              <a:rPr lang="en-AU" sz="2100" dirty="0"/>
              <a:t>Made &amp; evaluated by recognised experts</a:t>
            </a:r>
          </a:p>
          <a:p>
            <a:pPr lvl="1"/>
            <a:r>
              <a:rPr lang="en-AU" sz="2100" dirty="0"/>
              <a:t>On the basis of a rationale</a:t>
            </a:r>
          </a:p>
          <a:p>
            <a:pPr lvl="1"/>
            <a:endParaRPr lang="en-AU" sz="1800" dirty="0"/>
          </a:p>
          <a:p>
            <a:r>
              <a:rPr lang="en-AU" sz="2400" dirty="0"/>
              <a:t>Assurance rationale must be backed by empirical</a:t>
            </a:r>
            <a:br>
              <a:rPr lang="en-AU" sz="2400" dirty="0"/>
            </a:br>
            <a:r>
              <a:rPr lang="en-AU" sz="2400" b="1" dirty="0">
                <a:solidFill>
                  <a:srgbClr val="92D050"/>
                </a:solidFill>
              </a:rPr>
              <a:t>engineering theories </a:t>
            </a:r>
            <a:r>
              <a:rPr lang="en-AU" sz="2400" dirty="0"/>
              <a:t>&amp; eviden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ngineering: Assurance is Key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B48D48-9B81-42D9-823F-CBA2D6D65AE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0</a:t>
            </a:fld>
            <a:endParaRPr lang="en-US"/>
          </a:p>
        </p:txBody>
      </p:sp>
      <p:pic>
        <p:nvPicPr>
          <p:cNvPr id="2050" name="Picture 2" descr="C:\Users\mstaples\AppData\Local\Microsoft\Windows\Temporary Internet Files\Content.IE5\LFIVY46B\evidence1-300x300[1]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930" y="3375965"/>
            <a:ext cx="1007517" cy="1007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7231833" y="1787573"/>
            <a:ext cx="1193710" cy="924668"/>
            <a:chOff x="7848312" y="3645024"/>
            <a:chExt cx="1096911" cy="864096"/>
          </a:xfrm>
        </p:grpSpPr>
        <p:sp>
          <p:nvSpPr>
            <p:cNvPr id="5" name="Oval 4"/>
            <p:cNvSpPr/>
            <p:nvPr/>
          </p:nvSpPr>
          <p:spPr>
            <a:xfrm>
              <a:off x="7964719" y="3645024"/>
              <a:ext cx="864096" cy="86409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500"/>
            </a:p>
          </p:txBody>
        </p:sp>
        <p:sp>
          <p:nvSpPr>
            <p:cNvPr id="8" name="Oval 7"/>
            <p:cNvSpPr/>
            <p:nvPr/>
          </p:nvSpPr>
          <p:spPr>
            <a:xfrm>
              <a:off x="8040919" y="3721224"/>
              <a:ext cx="711696" cy="71169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500"/>
            </a:p>
          </p:txBody>
        </p:sp>
        <p:sp>
          <p:nvSpPr>
            <p:cNvPr id="6" name="Rectangle 5"/>
            <p:cNvSpPr/>
            <p:nvPr/>
          </p:nvSpPr>
          <p:spPr>
            <a:xfrm rot="20700000">
              <a:off x="7848312" y="3940465"/>
              <a:ext cx="1096911" cy="27321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>
                  <a:solidFill>
                    <a:srgbClr val="C00000"/>
                  </a:solidFill>
                  <a:latin typeface="Stencil" panose="040409050D0802020404" pitchFamily="82" charset="0"/>
                </a:rPr>
                <a:t>CERTIFI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87282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Trustworthy Blockchain-Based System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en-AU" sz="2400" dirty="0"/>
              <a:t>How do we design blockchain-based systems that work?</a:t>
            </a:r>
            <a:endParaRPr lang="en-AU" dirty="0"/>
          </a:p>
          <a:p>
            <a:r>
              <a:rPr lang="en-AU" sz="2400" dirty="0"/>
              <a:t>What is good evidence that they will work?</a:t>
            </a:r>
            <a:endParaRPr lang="en-AU" sz="1800" dirty="0"/>
          </a:p>
          <a:p>
            <a:pPr lvl="1"/>
            <a:r>
              <a:rPr lang="en-AU" sz="2100" dirty="0"/>
              <a:t>Functional correctness</a:t>
            </a:r>
          </a:p>
          <a:p>
            <a:pPr lvl="1"/>
            <a:r>
              <a:rPr lang="en-AU" sz="2100" dirty="0"/>
              <a:t>Non-Functional properties</a:t>
            </a:r>
          </a:p>
          <a:p>
            <a:r>
              <a:rPr lang="en-AU" sz="2400" dirty="0"/>
              <a:t>How do we get acceptance?</a:t>
            </a:r>
          </a:p>
          <a:p>
            <a:pPr lvl="1"/>
            <a:r>
              <a:rPr lang="en-AU" sz="2100" dirty="0"/>
              <a:t>Individual, Enterprise,</a:t>
            </a:r>
            <a:br>
              <a:rPr lang="en-AU" sz="2100" dirty="0"/>
            </a:br>
            <a:r>
              <a:rPr lang="en-AU" sz="2100" dirty="0"/>
              <a:t>Regulatory, Societa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3182B2-ED1E-4677-AD6F-95EC5DE54B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1</a:t>
            </a:fld>
            <a:endParaRPr lang="en-US"/>
          </a:p>
        </p:txBody>
      </p:sp>
      <p:sp>
        <p:nvSpPr>
          <p:cNvPr id="7" name="Quad Arrow 6"/>
          <p:cNvSpPr/>
          <p:nvPr/>
        </p:nvSpPr>
        <p:spPr>
          <a:xfrm>
            <a:off x="6017553" y="1675665"/>
            <a:ext cx="2053750" cy="2053750"/>
          </a:xfrm>
          <a:prstGeom prst="quadArrow">
            <a:avLst>
              <a:gd name="adj1" fmla="val 8174"/>
              <a:gd name="adj2" fmla="val 7219"/>
              <a:gd name="adj3" fmla="val 817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8" name="Rectangle 7"/>
          <p:cNvSpPr/>
          <p:nvPr/>
        </p:nvSpPr>
        <p:spPr>
          <a:xfrm>
            <a:off x="5030117" y="1574507"/>
            <a:ext cx="3674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600" i="1" dirty="0"/>
              <a:t>UI</a:t>
            </a:r>
          </a:p>
        </p:txBody>
      </p:sp>
      <p:sp>
        <p:nvSpPr>
          <p:cNvPr id="9" name="Rectangle 8"/>
          <p:cNvSpPr/>
          <p:nvPr/>
        </p:nvSpPr>
        <p:spPr>
          <a:xfrm>
            <a:off x="4853439" y="3709740"/>
            <a:ext cx="4411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AU" sz="1600" i="1" dirty="0" err="1"/>
              <a:t>IoT</a:t>
            </a:r>
            <a:endParaRPr lang="en-AU" sz="1600" i="1" dirty="0"/>
          </a:p>
        </p:txBody>
      </p:sp>
      <p:sp>
        <p:nvSpPr>
          <p:cNvPr id="10" name="Rectangle 9"/>
          <p:cNvSpPr/>
          <p:nvPr/>
        </p:nvSpPr>
        <p:spPr>
          <a:xfrm>
            <a:off x="7934528" y="4048296"/>
            <a:ext cx="103784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1600" i="1" dirty="0"/>
              <a:t>Auxiliary</a:t>
            </a:r>
          </a:p>
          <a:p>
            <a:r>
              <a:rPr lang="en-AU" sz="1600" i="1" dirty="0"/>
              <a:t>databas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071303" y="1366297"/>
            <a:ext cx="8834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i="1" dirty="0"/>
              <a:t>Legacy</a:t>
            </a:r>
          </a:p>
          <a:p>
            <a:r>
              <a:rPr lang="en-AU" sz="1600" i="1" dirty="0"/>
              <a:t>system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333788" y="2600785"/>
            <a:ext cx="12999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AU" sz="1600" i="1" dirty="0"/>
              <a:t>Key</a:t>
            </a:r>
          </a:p>
          <a:p>
            <a:pPr algn="ctr"/>
            <a:r>
              <a:rPr lang="en-AU" sz="1600" i="1" dirty="0"/>
              <a:t>management</a:t>
            </a:r>
          </a:p>
        </p:txBody>
      </p:sp>
      <p:sp>
        <p:nvSpPr>
          <p:cNvPr id="13" name="Flowchart: Magnetic Disk 12"/>
          <p:cNvSpPr/>
          <p:nvPr/>
        </p:nvSpPr>
        <p:spPr>
          <a:xfrm>
            <a:off x="7066090" y="3794112"/>
            <a:ext cx="772644" cy="894690"/>
          </a:xfrm>
          <a:prstGeom prst="flowChartMagneticDisk">
            <a:avLst/>
          </a:prstGeom>
          <a:ln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private</a:t>
            </a:r>
          </a:p>
          <a:p>
            <a:pPr algn="ctr"/>
            <a:r>
              <a:rPr lang="en-AU" sz="1600" dirty="0"/>
              <a:t>data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5038" y="1507476"/>
            <a:ext cx="563620" cy="56362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190"/>
          <a:stretch/>
        </p:blipFill>
        <p:spPr>
          <a:xfrm>
            <a:off x="5434358" y="1467548"/>
            <a:ext cx="267731" cy="62470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0858" y="3611706"/>
            <a:ext cx="1059113" cy="53723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9438" y="1237060"/>
            <a:ext cx="541863" cy="890733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6503058" y="2124207"/>
            <a:ext cx="1082741" cy="101073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19" name="Rectangle 18"/>
          <p:cNvSpPr/>
          <p:nvPr/>
        </p:nvSpPr>
        <p:spPr>
          <a:xfrm>
            <a:off x="6286283" y="2900709"/>
            <a:ext cx="1494905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AU" sz="1600" dirty="0"/>
              <a:t>Blockchain is a</a:t>
            </a:r>
            <a:br>
              <a:rPr lang="en-AU" sz="1600" dirty="0"/>
            </a:br>
            <a:r>
              <a:rPr lang="en-AU" sz="1600" dirty="0"/>
              <a:t>component</a:t>
            </a:r>
          </a:p>
        </p:txBody>
      </p:sp>
      <p:grpSp>
        <p:nvGrpSpPr>
          <p:cNvPr id="20" name="Group 4"/>
          <p:cNvGrpSpPr>
            <a:grpSpLocks noChangeAspect="1"/>
          </p:cNvGrpSpPr>
          <p:nvPr/>
        </p:nvGrpSpPr>
        <p:grpSpPr bwMode="auto">
          <a:xfrm>
            <a:off x="6572326" y="2166986"/>
            <a:ext cx="944205" cy="714390"/>
            <a:chOff x="3839" y="1678"/>
            <a:chExt cx="530" cy="401"/>
          </a:xfrm>
        </p:grpSpPr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3921" y="1743"/>
              <a:ext cx="105" cy="60"/>
            </a:xfrm>
            <a:custGeom>
              <a:avLst/>
              <a:gdLst>
                <a:gd name="T0" fmla="*/ 0 w 489"/>
                <a:gd name="T1" fmla="*/ 0 h 280"/>
                <a:gd name="T2" fmla="*/ 0 w 489"/>
                <a:gd name="T3" fmla="*/ 0 h 280"/>
                <a:gd name="T4" fmla="*/ 46 w 489"/>
                <a:gd name="T5" fmla="*/ 27 h 280"/>
                <a:gd name="T6" fmla="*/ 92 w 489"/>
                <a:gd name="T7" fmla="*/ 53 h 280"/>
                <a:gd name="T8" fmla="*/ 92 w 489"/>
                <a:gd name="T9" fmla="*/ 53 h 280"/>
                <a:gd name="T10" fmla="*/ 138 w 489"/>
                <a:gd name="T11" fmla="*/ 80 h 280"/>
                <a:gd name="T12" fmla="*/ 185 w 489"/>
                <a:gd name="T13" fmla="*/ 106 h 280"/>
                <a:gd name="T14" fmla="*/ 185 w 489"/>
                <a:gd name="T15" fmla="*/ 106 h 280"/>
                <a:gd name="T16" fmla="*/ 231 w 489"/>
                <a:gd name="T17" fmla="*/ 133 h 280"/>
                <a:gd name="T18" fmla="*/ 277 w 489"/>
                <a:gd name="T19" fmla="*/ 159 h 280"/>
                <a:gd name="T20" fmla="*/ 277 w 489"/>
                <a:gd name="T21" fmla="*/ 159 h 280"/>
                <a:gd name="T22" fmla="*/ 324 w 489"/>
                <a:gd name="T23" fmla="*/ 186 h 280"/>
                <a:gd name="T24" fmla="*/ 370 w 489"/>
                <a:gd name="T25" fmla="*/ 212 h 280"/>
                <a:gd name="T26" fmla="*/ 370 w 489"/>
                <a:gd name="T27" fmla="*/ 212 h 280"/>
                <a:gd name="T28" fmla="*/ 416 w 489"/>
                <a:gd name="T29" fmla="*/ 239 h 280"/>
                <a:gd name="T30" fmla="*/ 462 w 489"/>
                <a:gd name="T31" fmla="*/ 265 h 280"/>
                <a:gd name="T32" fmla="*/ 462 w 489"/>
                <a:gd name="T33" fmla="*/ 265 h 280"/>
                <a:gd name="T34" fmla="*/ 489 w 489"/>
                <a:gd name="T3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" h="280">
                  <a:moveTo>
                    <a:pt x="0" y="0"/>
                  </a:moveTo>
                  <a:lnTo>
                    <a:pt x="0" y="0"/>
                  </a:lnTo>
                  <a:lnTo>
                    <a:pt x="46" y="27"/>
                  </a:lnTo>
                  <a:moveTo>
                    <a:pt x="92" y="53"/>
                  </a:moveTo>
                  <a:lnTo>
                    <a:pt x="92" y="53"/>
                  </a:lnTo>
                  <a:lnTo>
                    <a:pt x="138" y="80"/>
                  </a:lnTo>
                  <a:moveTo>
                    <a:pt x="185" y="106"/>
                  </a:moveTo>
                  <a:lnTo>
                    <a:pt x="185" y="106"/>
                  </a:lnTo>
                  <a:lnTo>
                    <a:pt x="231" y="133"/>
                  </a:lnTo>
                  <a:moveTo>
                    <a:pt x="277" y="159"/>
                  </a:moveTo>
                  <a:lnTo>
                    <a:pt x="277" y="159"/>
                  </a:lnTo>
                  <a:lnTo>
                    <a:pt x="324" y="186"/>
                  </a:lnTo>
                  <a:moveTo>
                    <a:pt x="370" y="212"/>
                  </a:moveTo>
                  <a:lnTo>
                    <a:pt x="370" y="212"/>
                  </a:lnTo>
                  <a:lnTo>
                    <a:pt x="416" y="239"/>
                  </a:lnTo>
                  <a:moveTo>
                    <a:pt x="462" y="265"/>
                  </a:moveTo>
                  <a:lnTo>
                    <a:pt x="462" y="265"/>
                  </a:lnTo>
                  <a:lnTo>
                    <a:pt x="489" y="28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4050" y="1775"/>
              <a:ext cx="116" cy="33"/>
            </a:xfrm>
            <a:custGeom>
              <a:avLst/>
              <a:gdLst>
                <a:gd name="T0" fmla="*/ 544 w 544"/>
                <a:gd name="T1" fmla="*/ 0 h 159"/>
                <a:gd name="T2" fmla="*/ 544 w 544"/>
                <a:gd name="T3" fmla="*/ 0 h 159"/>
                <a:gd name="T4" fmla="*/ 493 w 544"/>
                <a:gd name="T5" fmla="*/ 15 h 159"/>
                <a:gd name="T6" fmla="*/ 441 w 544"/>
                <a:gd name="T7" fmla="*/ 30 h 159"/>
                <a:gd name="T8" fmla="*/ 441 w 544"/>
                <a:gd name="T9" fmla="*/ 30 h 159"/>
                <a:gd name="T10" fmla="*/ 390 w 544"/>
                <a:gd name="T11" fmla="*/ 45 h 159"/>
                <a:gd name="T12" fmla="*/ 339 w 544"/>
                <a:gd name="T13" fmla="*/ 60 h 159"/>
                <a:gd name="T14" fmla="*/ 339 w 544"/>
                <a:gd name="T15" fmla="*/ 60 h 159"/>
                <a:gd name="T16" fmla="*/ 288 w 544"/>
                <a:gd name="T17" fmla="*/ 75 h 159"/>
                <a:gd name="T18" fmla="*/ 237 w 544"/>
                <a:gd name="T19" fmla="*/ 90 h 159"/>
                <a:gd name="T20" fmla="*/ 237 w 544"/>
                <a:gd name="T21" fmla="*/ 90 h 159"/>
                <a:gd name="T22" fmla="*/ 185 w 544"/>
                <a:gd name="T23" fmla="*/ 105 h 159"/>
                <a:gd name="T24" fmla="*/ 134 w 544"/>
                <a:gd name="T25" fmla="*/ 120 h 159"/>
                <a:gd name="T26" fmla="*/ 134 w 544"/>
                <a:gd name="T27" fmla="*/ 120 h 159"/>
                <a:gd name="T28" fmla="*/ 83 w 544"/>
                <a:gd name="T29" fmla="*/ 135 h 159"/>
                <a:gd name="T30" fmla="*/ 32 w 544"/>
                <a:gd name="T31" fmla="*/ 150 h 159"/>
                <a:gd name="T32" fmla="*/ 32 w 544"/>
                <a:gd name="T33" fmla="*/ 150 h 159"/>
                <a:gd name="T34" fmla="*/ 0 w 544"/>
                <a:gd name="T3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4" h="159">
                  <a:moveTo>
                    <a:pt x="544" y="0"/>
                  </a:moveTo>
                  <a:lnTo>
                    <a:pt x="544" y="0"/>
                  </a:lnTo>
                  <a:lnTo>
                    <a:pt x="493" y="15"/>
                  </a:lnTo>
                  <a:moveTo>
                    <a:pt x="441" y="30"/>
                  </a:moveTo>
                  <a:lnTo>
                    <a:pt x="441" y="30"/>
                  </a:lnTo>
                  <a:lnTo>
                    <a:pt x="390" y="45"/>
                  </a:lnTo>
                  <a:moveTo>
                    <a:pt x="339" y="60"/>
                  </a:moveTo>
                  <a:lnTo>
                    <a:pt x="339" y="60"/>
                  </a:lnTo>
                  <a:lnTo>
                    <a:pt x="288" y="75"/>
                  </a:lnTo>
                  <a:moveTo>
                    <a:pt x="237" y="90"/>
                  </a:moveTo>
                  <a:lnTo>
                    <a:pt x="237" y="90"/>
                  </a:lnTo>
                  <a:lnTo>
                    <a:pt x="185" y="105"/>
                  </a:lnTo>
                  <a:moveTo>
                    <a:pt x="134" y="120"/>
                  </a:moveTo>
                  <a:lnTo>
                    <a:pt x="134" y="120"/>
                  </a:lnTo>
                  <a:lnTo>
                    <a:pt x="83" y="135"/>
                  </a:lnTo>
                  <a:moveTo>
                    <a:pt x="32" y="150"/>
                  </a:moveTo>
                  <a:lnTo>
                    <a:pt x="32" y="150"/>
                  </a:lnTo>
                  <a:lnTo>
                    <a:pt x="0" y="159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3865" y="1814"/>
              <a:ext cx="161" cy="26"/>
            </a:xfrm>
            <a:custGeom>
              <a:avLst/>
              <a:gdLst>
                <a:gd name="T0" fmla="*/ 755 w 755"/>
                <a:gd name="T1" fmla="*/ 0 h 121"/>
                <a:gd name="T2" fmla="*/ 755 w 755"/>
                <a:gd name="T3" fmla="*/ 0 h 121"/>
                <a:gd name="T4" fmla="*/ 702 w 755"/>
                <a:gd name="T5" fmla="*/ 8 h 121"/>
                <a:gd name="T6" fmla="*/ 650 w 755"/>
                <a:gd name="T7" fmla="*/ 17 h 121"/>
                <a:gd name="T8" fmla="*/ 650 w 755"/>
                <a:gd name="T9" fmla="*/ 17 h 121"/>
                <a:gd name="T10" fmla="*/ 597 w 755"/>
                <a:gd name="T11" fmla="*/ 25 h 121"/>
                <a:gd name="T12" fmla="*/ 544 w 755"/>
                <a:gd name="T13" fmla="*/ 34 h 121"/>
                <a:gd name="T14" fmla="*/ 544 w 755"/>
                <a:gd name="T15" fmla="*/ 34 h 121"/>
                <a:gd name="T16" fmla="*/ 492 w 755"/>
                <a:gd name="T17" fmla="*/ 42 h 121"/>
                <a:gd name="T18" fmla="*/ 439 w 755"/>
                <a:gd name="T19" fmla="*/ 51 h 121"/>
                <a:gd name="T20" fmla="*/ 439 w 755"/>
                <a:gd name="T21" fmla="*/ 51 h 121"/>
                <a:gd name="T22" fmla="*/ 386 w 755"/>
                <a:gd name="T23" fmla="*/ 59 h 121"/>
                <a:gd name="T24" fmla="*/ 334 w 755"/>
                <a:gd name="T25" fmla="*/ 67 h 121"/>
                <a:gd name="T26" fmla="*/ 334 w 755"/>
                <a:gd name="T27" fmla="*/ 67 h 121"/>
                <a:gd name="T28" fmla="*/ 281 w 755"/>
                <a:gd name="T29" fmla="*/ 76 h 121"/>
                <a:gd name="T30" fmla="*/ 229 w 755"/>
                <a:gd name="T31" fmla="*/ 84 h 121"/>
                <a:gd name="T32" fmla="*/ 229 w 755"/>
                <a:gd name="T33" fmla="*/ 84 h 121"/>
                <a:gd name="T34" fmla="*/ 176 w 755"/>
                <a:gd name="T35" fmla="*/ 93 h 121"/>
                <a:gd name="T36" fmla="*/ 123 w 755"/>
                <a:gd name="T37" fmla="*/ 101 h 121"/>
                <a:gd name="T38" fmla="*/ 123 w 755"/>
                <a:gd name="T39" fmla="*/ 101 h 121"/>
                <a:gd name="T40" fmla="*/ 71 w 755"/>
                <a:gd name="T41" fmla="*/ 110 h 121"/>
                <a:gd name="T42" fmla="*/ 18 w 755"/>
                <a:gd name="T43" fmla="*/ 118 h 121"/>
                <a:gd name="T44" fmla="*/ 18 w 755"/>
                <a:gd name="T45" fmla="*/ 118 h 121"/>
                <a:gd name="T46" fmla="*/ 0 w 755"/>
                <a:gd name="T4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5" h="121">
                  <a:moveTo>
                    <a:pt x="755" y="0"/>
                  </a:moveTo>
                  <a:lnTo>
                    <a:pt x="755" y="0"/>
                  </a:lnTo>
                  <a:lnTo>
                    <a:pt x="702" y="8"/>
                  </a:lnTo>
                  <a:moveTo>
                    <a:pt x="650" y="17"/>
                  </a:moveTo>
                  <a:lnTo>
                    <a:pt x="650" y="17"/>
                  </a:lnTo>
                  <a:lnTo>
                    <a:pt x="597" y="25"/>
                  </a:lnTo>
                  <a:moveTo>
                    <a:pt x="544" y="34"/>
                  </a:moveTo>
                  <a:lnTo>
                    <a:pt x="544" y="34"/>
                  </a:lnTo>
                  <a:lnTo>
                    <a:pt x="492" y="42"/>
                  </a:lnTo>
                  <a:moveTo>
                    <a:pt x="439" y="51"/>
                  </a:moveTo>
                  <a:lnTo>
                    <a:pt x="439" y="51"/>
                  </a:lnTo>
                  <a:lnTo>
                    <a:pt x="386" y="59"/>
                  </a:lnTo>
                  <a:moveTo>
                    <a:pt x="334" y="67"/>
                  </a:moveTo>
                  <a:lnTo>
                    <a:pt x="334" y="67"/>
                  </a:lnTo>
                  <a:lnTo>
                    <a:pt x="281" y="76"/>
                  </a:lnTo>
                  <a:moveTo>
                    <a:pt x="229" y="84"/>
                  </a:moveTo>
                  <a:lnTo>
                    <a:pt x="229" y="84"/>
                  </a:lnTo>
                  <a:lnTo>
                    <a:pt x="176" y="93"/>
                  </a:lnTo>
                  <a:moveTo>
                    <a:pt x="123" y="101"/>
                  </a:moveTo>
                  <a:lnTo>
                    <a:pt x="123" y="101"/>
                  </a:lnTo>
                  <a:lnTo>
                    <a:pt x="71" y="110"/>
                  </a:lnTo>
                  <a:moveTo>
                    <a:pt x="18" y="118"/>
                  </a:moveTo>
                  <a:lnTo>
                    <a:pt x="18" y="118"/>
                  </a:lnTo>
                  <a:lnTo>
                    <a:pt x="0" y="121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3999" y="1820"/>
              <a:ext cx="32" cy="73"/>
            </a:xfrm>
            <a:custGeom>
              <a:avLst/>
              <a:gdLst>
                <a:gd name="T0" fmla="*/ 150 w 150"/>
                <a:gd name="T1" fmla="*/ 0 h 342"/>
                <a:gd name="T2" fmla="*/ 150 w 150"/>
                <a:gd name="T3" fmla="*/ 0 h 342"/>
                <a:gd name="T4" fmla="*/ 128 w 150"/>
                <a:gd name="T5" fmla="*/ 49 h 342"/>
                <a:gd name="T6" fmla="*/ 107 w 150"/>
                <a:gd name="T7" fmla="*/ 98 h 342"/>
                <a:gd name="T8" fmla="*/ 107 w 150"/>
                <a:gd name="T9" fmla="*/ 98 h 342"/>
                <a:gd name="T10" fmla="*/ 86 w 150"/>
                <a:gd name="T11" fmla="*/ 147 h 342"/>
                <a:gd name="T12" fmla="*/ 64 w 150"/>
                <a:gd name="T13" fmla="*/ 196 h 342"/>
                <a:gd name="T14" fmla="*/ 64 w 150"/>
                <a:gd name="T15" fmla="*/ 196 h 342"/>
                <a:gd name="T16" fmla="*/ 43 w 150"/>
                <a:gd name="T17" fmla="*/ 245 h 342"/>
                <a:gd name="T18" fmla="*/ 21 w 150"/>
                <a:gd name="T19" fmla="*/ 293 h 342"/>
                <a:gd name="T20" fmla="*/ 21 w 150"/>
                <a:gd name="T21" fmla="*/ 293 h 342"/>
                <a:gd name="T22" fmla="*/ 0 w 150"/>
                <a:gd name="T23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342">
                  <a:moveTo>
                    <a:pt x="150" y="0"/>
                  </a:moveTo>
                  <a:lnTo>
                    <a:pt x="150" y="0"/>
                  </a:lnTo>
                  <a:lnTo>
                    <a:pt x="128" y="49"/>
                  </a:lnTo>
                  <a:moveTo>
                    <a:pt x="107" y="98"/>
                  </a:moveTo>
                  <a:lnTo>
                    <a:pt x="107" y="98"/>
                  </a:lnTo>
                  <a:lnTo>
                    <a:pt x="86" y="147"/>
                  </a:lnTo>
                  <a:moveTo>
                    <a:pt x="64" y="196"/>
                  </a:moveTo>
                  <a:lnTo>
                    <a:pt x="64" y="196"/>
                  </a:lnTo>
                  <a:lnTo>
                    <a:pt x="43" y="245"/>
                  </a:lnTo>
                  <a:moveTo>
                    <a:pt x="21" y="293"/>
                  </a:moveTo>
                  <a:lnTo>
                    <a:pt x="21" y="293"/>
                  </a:lnTo>
                  <a:lnTo>
                    <a:pt x="0" y="342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3859" y="1749"/>
              <a:ext cx="45" cy="85"/>
            </a:xfrm>
            <a:custGeom>
              <a:avLst/>
              <a:gdLst>
                <a:gd name="T0" fmla="*/ 0 w 209"/>
                <a:gd name="T1" fmla="*/ 401 h 401"/>
                <a:gd name="T2" fmla="*/ 0 w 209"/>
                <a:gd name="T3" fmla="*/ 401 h 401"/>
                <a:gd name="T4" fmla="*/ 25 w 209"/>
                <a:gd name="T5" fmla="*/ 354 h 401"/>
                <a:gd name="T6" fmla="*/ 49 w 209"/>
                <a:gd name="T7" fmla="*/ 307 h 401"/>
                <a:gd name="T8" fmla="*/ 49 w 209"/>
                <a:gd name="T9" fmla="*/ 307 h 401"/>
                <a:gd name="T10" fmla="*/ 74 w 209"/>
                <a:gd name="T11" fmla="*/ 259 h 401"/>
                <a:gd name="T12" fmla="*/ 99 w 209"/>
                <a:gd name="T13" fmla="*/ 212 h 401"/>
                <a:gd name="T14" fmla="*/ 99 w 209"/>
                <a:gd name="T15" fmla="*/ 212 h 401"/>
                <a:gd name="T16" fmla="*/ 123 w 209"/>
                <a:gd name="T17" fmla="*/ 165 h 401"/>
                <a:gd name="T18" fmla="*/ 148 w 209"/>
                <a:gd name="T19" fmla="*/ 117 h 401"/>
                <a:gd name="T20" fmla="*/ 148 w 209"/>
                <a:gd name="T21" fmla="*/ 117 h 401"/>
                <a:gd name="T22" fmla="*/ 172 w 209"/>
                <a:gd name="T23" fmla="*/ 70 h 401"/>
                <a:gd name="T24" fmla="*/ 197 w 209"/>
                <a:gd name="T25" fmla="*/ 23 h 401"/>
                <a:gd name="T26" fmla="*/ 197 w 209"/>
                <a:gd name="T27" fmla="*/ 23 h 401"/>
                <a:gd name="T28" fmla="*/ 209 w 209"/>
                <a:gd name="T29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401">
                  <a:moveTo>
                    <a:pt x="0" y="401"/>
                  </a:moveTo>
                  <a:lnTo>
                    <a:pt x="0" y="401"/>
                  </a:lnTo>
                  <a:lnTo>
                    <a:pt x="25" y="354"/>
                  </a:lnTo>
                  <a:moveTo>
                    <a:pt x="49" y="307"/>
                  </a:moveTo>
                  <a:lnTo>
                    <a:pt x="49" y="307"/>
                  </a:lnTo>
                  <a:lnTo>
                    <a:pt x="74" y="259"/>
                  </a:lnTo>
                  <a:moveTo>
                    <a:pt x="99" y="212"/>
                  </a:moveTo>
                  <a:lnTo>
                    <a:pt x="99" y="212"/>
                  </a:lnTo>
                  <a:lnTo>
                    <a:pt x="123" y="165"/>
                  </a:lnTo>
                  <a:moveTo>
                    <a:pt x="148" y="117"/>
                  </a:moveTo>
                  <a:lnTo>
                    <a:pt x="148" y="117"/>
                  </a:lnTo>
                  <a:lnTo>
                    <a:pt x="172" y="70"/>
                  </a:lnTo>
                  <a:moveTo>
                    <a:pt x="197" y="23"/>
                  </a:moveTo>
                  <a:lnTo>
                    <a:pt x="197" y="23"/>
                  </a:lnTo>
                  <a:lnTo>
                    <a:pt x="209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3916" y="1749"/>
              <a:ext cx="70" cy="145"/>
            </a:xfrm>
            <a:custGeom>
              <a:avLst/>
              <a:gdLst>
                <a:gd name="T0" fmla="*/ 328 w 328"/>
                <a:gd name="T1" fmla="*/ 682 h 682"/>
                <a:gd name="T2" fmla="*/ 328 w 328"/>
                <a:gd name="T3" fmla="*/ 682 h 682"/>
                <a:gd name="T4" fmla="*/ 305 w 328"/>
                <a:gd name="T5" fmla="*/ 634 h 682"/>
                <a:gd name="T6" fmla="*/ 282 w 328"/>
                <a:gd name="T7" fmla="*/ 586 h 682"/>
                <a:gd name="T8" fmla="*/ 282 w 328"/>
                <a:gd name="T9" fmla="*/ 586 h 682"/>
                <a:gd name="T10" fmla="*/ 259 w 328"/>
                <a:gd name="T11" fmla="*/ 538 h 682"/>
                <a:gd name="T12" fmla="*/ 236 w 328"/>
                <a:gd name="T13" fmla="*/ 490 h 682"/>
                <a:gd name="T14" fmla="*/ 236 w 328"/>
                <a:gd name="T15" fmla="*/ 490 h 682"/>
                <a:gd name="T16" fmla="*/ 213 w 328"/>
                <a:gd name="T17" fmla="*/ 442 h 682"/>
                <a:gd name="T18" fmla="*/ 189 w 328"/>
                <a:gd name="T19" fmla="*/ 394 h 682"/>
                <a:gd name="T20" fmla="*/ 189 w 328"/>
                <a:gd name="T21" fmla="*/ 394 h 682"/>
                <a:gd name="T22" fmla="*/ 166 w 328"/>
                <a:gd name="T23" fmla="*/ 346 h 682"/>
                <a:gd name="T24" fmla="*/ 143 w 328"/>
                <a:gd name="T25" fmla="*/ 298 h 682"/>
                <a:gd name="T26" fmla="*/ 143 w 328"/>
                <a:gd name="T27" fmla="*/ 298 h 682"/>
                <a:gd name="T28" fmla="*/ 120 w 328"/>
                <a:gd name="T29" fmla="*/ 250 h 682"/>
                <a:gd name="T30" fmla="*/ 97 w 328"/>
                <a:gd name="T31" fmla="*/ 202 h 682"/>
                <a:gd name="T32" fmla="*/ 97 w 328"/>
                <a:gd name="T33" fmla="*/ 202 h 682"/>
                <a:gd name="T34" fmla="*/ 74 w 328"/>
                <a:gd name="T35" fmla="*/ 154 h 682"/>
                <a:gd name="T36" fmla="*/ 51 w 328"/>
                <a:gd name="T37" fmla="*/ 105 h 682"/>
                <a:gd name="T38" fmla="*/ 51 w 328"/>
                <a:gd name="T39" fmla="*/ 105 h 682"/>
                <a:gd name="T40" fmla="*/ 28 w 328"/>
                <a:gd name="T41" fmla="*/ 57 h 682"/>
                <a:gd name="T42" fmla="*/ 4 w 328"/>
                <a:gd name="T43" fmla="*/ 9 h 682"/>
                <a:gd name="T44" fmla="*/ 4 w 328"/>
                <a:gd name="T45" fmla="*/ 9 h 682"/>
                <a:gd name="T46" fmla="*/ 0 w 328"/>
                <a:gd name="T4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8" h="682">
                  <a:moveTo>
                    <a:pt x="328" y="682"/>
                  </a:moveTo>
                  <a:lnTo>
                    <a:pt x="328" y="682"/>
                  </a:lnTo>
                  <a:lnTo>
                    <a:pt x="305" y="634"/>
                  </a:lnTo>
                  <a:moveTo>
                    <a:pt x="282" y="586"/>
                  </a:moveTo>
                  <a:lnTo>
                    <a:pt x="282" y="586"/>
                  </a:lnTo>
                  <a:lnTo>
                    <a:pt x="259" y="538"/>
                  </a:lnTo>
                  <a:moveTo>
                    <a:pt x="236" y="490"/>
                  </a:moveTo>
                  <a:lnTo>
                    <a:pt x="236" y="490"/>
                  </a:lnTo>
                  <a:lnTo>
                    <a:pt x="213" y="442"/>
                  </a:lnTo>
                  <a:moveTo>
                    <a:pt x="189" y="394"/>
                  </a:moveTo>
                  <a:lnTo>
                    <a:pt x="189" y="394"/>
                  </a:lnTo>
                  <a:lnTo>
                    <a:pt x="166" y="346"/>
                  </a:lnTo>
                  <a:moveTo>
                    <a:pt x="143" y="298"/>
                  </a:moveTo>
                  <a:lnTo>
                    <a:pt x="143" y="298"/>
                  </a:lnTo>
                  <a:lnTo>
                    <a:pt x="120" y="250"/>
                  </a:lnTo>
                  <a:moveTo>
                    <a:pt x="97" y="202"/>
                  </a:moveTo>
                  <a:lnTo>
                    <a:pt x="97" y="202"/>
                  </a:lnTo>
                  <a:lnTo>
                    <a:pt x="74" y="154"/>
                  </a:lnTo>
                  <a:moveTo>
                    <a:pt x="51" y="105"/>
                  </a:moveTo>
                  <a:lnTo>
                    <a:pt x="51" y="105"/>
                  </a:lnTo>
                  <a:lnTo>
                    <a:pt x="28" y="57"/>
                  </a:lnTo>
                  <a:moveTo>
                    <a:pt x="4" y="9"/>
                  </a:moveTo>
                  <a:lnTo>
                    <a:pt x="4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auto">
            <a:xfrm>
              <a:off x="3872" y="1847"/>
              <a:ext cx="258" cy="44"/>
            </a:xfrm>
            <a:custGeom>
              <a:avLst/>
              <a:gdLst>
                <a:gd name="T0" fmla="*/ 1209 w 1209"/>
                <a:gd name="T1" fmla="*/ 208 h 208"/>
                <a:gd name="T2" fmla="*/ 1209 w 1209"/>
                <a:gd name="T3" fmla="*/ 208 h 208"/>
                <a:gd name="T4" fmla="*/ 1156 w 1209"/>
                <a:gd name="T5" fmla="*/ 198 h 208"/>
                <a:gd name="T6" fmla="*/ 1104 w 1209"/>
                <a:gd name="T7" fmla="*/ 189 h 208"/>
                <a:gd name="T8" fmla="*/ 1104 w 1209"/>
                <a:gd name="T9" fmla="*/ 189 h 208"/>
                <a:gd name="T10" fmla="*/ 1051 w 1209"/>
                <a:gd name="T11" fmla="*/ 180 h 208"/>
                <a:gd name="T12" fmla="*/ 999 w 1209"/>
                <a:gd name="T13" fmla="*/ 171 h 208"/>
                <a:gd name="T14" fmla="*/ 999 w 1209"/>
                <a:gd name="T15" fmla="*/ 171 h 208"/>
                <a:gd name="T16" fmla="*/ 946 w 1209"/>
                <a:gd name="T17" fmla="*/ 162 h 208"/>
                <a:gd name="T18" fmla="*/ 893 w 1209"/>
                <a:gd name="T19" fmla="*/ 153 h 208"/>
                <a:gd name="T20" fmla="*/ 893 w 1209"/>
                <a:gd name="T21" fmla="*/ 153 h 208"/>
                <a:gd name="T22" fmla="*/ 841 w 1209"/>
                <a:gd name="T23" fmla="*/ 144 h 208"/>
                <a:gd name="T24" fmla="*/ 788 w 1209"/>
                <a:gd name="T25" fmla="*/ 135 h 208"/>
                <a:gd name="T26" fmla="*/ 788 w 1209"/>
                <a:gd name="T27" fmla="*/ 135 h 208"/>
                <a:gd name="T28" fmla="*/ 736 w 1209"/>
                <a:gd name="T29" fmla="*/ 126 h 208"/>
                <a:gd name="T30" fmla="*/ 683 w 1209"/>
                <a:gd name="T31" fmla="*/ 117 h 208"/>
                <a:gd name="T32" fmla="*/ 683 w 1209"/>
                <a:gd name="T33" fmla="*/ 117 h 208"/>
                <a:gd name="T34" fmla="*/ 631 w 1209"/>
                <a:gd name="T35" fmla="*/ 108 h 208"/>
                <a:gd name="T36" fmla="*/ 578 w 1209"/>
                <a:gd name="T37" fmla="*/ 99 h 208"/>
                <a:gd name="T38" fmla="*/ 578 w 1209"/>
                <a:gd name="T39" fmla="*/ 99 h 208"/>
                <a:gd name="T40" fmla="*/ 526 w 1209"/>
                <a:gd name="T41" fmla="*/ 90 h 208"/>
                <a:gd name="T42" fmla="*/ 473 w 1209"/>
                <a:gd name="T43" fmla="*/ 81 h 208"/>
                <a:gd name="T44" fmla="*/ 473 w 1209"/>
                <a:gd name="T45" fmla="*/ 81 h 208"/>
                <a:gd name="T46" fmla="*/ 420 w 1209"/>
                <a:gd name="T47" fmla="*/ 72 h 208"/>
                <a:gd name="T48" fmla="*/ 368 w 1209"/>
                <a:gd name="T49" fmla="*/ 63 h 208"/>
                <a:gd name="T50" fmla="*/ 368 w 1209"/>
                <a:gd name="T51" fmla="*/ 63 h 208"/>
                <a:gd name="T52" fmla="*/ 315 w 1209"/>
                <a:gd name="T53" fmla="*/ 54 h 208"/>
                <a:gd name="T54" fmla="*/ 263 w 1209"/>
                <a:gd name="T55" fmla="*/ 45 h 208"/>
                <a:gd name="T56" fmla="*/ 263 w 1209"/>
                <a:gd name="T57" fmla="*/ 45 h 208"/>
                <a:gd name="T58" fmla="*/ 210 w 1209"/>
                <a:gd name="T59" fmla="*/ 36 h 208"/>
                <a:gd name="T60" fmla="*/ 158 w 1209"/>
                <a:gd name="T61" fmla="*/ 27 h 208"/>
                <a:gd name="T62" fmla="*/ 158 w 1209"/>
                <a:gd name="T63" fmla="*/ 27 h 208"/>
                <a:gd name="T64" fmla="*/ 105 w 1209"/>
                <a:gd name="T65" fmla="*/ 18 h 208"/>
                <a:gd name="T66" fmla="*/ 52 w 1209"/>
                <a:gd name="T67" fmla="*/ 9 h 208"/>
                <a:gd name="T68" fmla="*/ 52 w 1209"/>
                <a:gd name="T69" fmla="*/ 9 h 208"/>
                <a:gd name="T70" fmla="*/ 0 w 1209"/>
                <a:gd name="T7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09" h="208">
                  <a:moveTo>
                    <a:pt x="1209" y="208"/>
                  </a:moveTo>
                  <a:lnTo>
                    <a:pt x="1209" y="208"/>
                  </a:lnTo>
                  <a:lnTo>
                    <a:pt x="1156" y="198"/>
                  </a:lnTo>
                  <a:moveTo>
                    <a:pt x="1104" y="189"/>
                  </a:moveTo>
                  <a:lnTo>
                    <a:pt x="1104" y="189"/>
                  </a:lnTo>
                  <a:lnTo>
                    <a:pt x="1051" y="180"/>
                  </a:lnTo>
                  <a:moveTo>
                    <a:pt x="999" y="171"/>
                  </a:moveTo>
                  <a:lnTo>
                    <a:pt x="999" y="171"/>
                  </a:lnTo>
                  <a:lnTo>
                    <a:pt x="946" y="162"/>
                  </a:lnTo>
                  <a:moveTo>
                    <a:pt x="893" y="153"/>
                  </a:moveTo>
                  <a:lnTo>
                    <a:pt x="893" y="153"/>
                  </a:lnTo>
                  <a:lnTo>
                    <a:pt x="841" y="144"/>
                  </a:lnTo>
                  <a:moveTo>
                    <a:pt x="788" y="135"/>
                  </a:moveTo>
                  <a:lnTo>
                    <a:pt x="788" y="135"/>
                  </a:lnTo>
                  <a:lnTo>
                    <a:pt x="736" y="126"/>
                  </a:lnTo>
                  <a:moveTo>
                    <a:pt x="683" y="117"/>
                  </a:moveTo>
                  <a:lnTo>
                    <a:pt x="683" y="117"/>
                  </a:lnTo>
                  <a:lnTo>
                    <a:pt x="631" y="108"/>
                  </a:lnTo>
                  <a:moveTo>
                    <a:pt x="578" y="99"/>
                  </a:moveTo>
                  <a:lnTo>
                    <a:pt x="578" y="99"/>
                  </a:lnTo>
                  <a:lnTo>
                    <a:pt x="526" y="90"/>
                  </a:lnTo>
                  <a:moveTo>
                    <a:pt x="473" y="81"/>
                  </a:moveTo>
                  <a:lnTo>
                    <a:pt x="473" y="81"/>
                  </a:lnTo>
                  <a:lnTo>
                    <a:pt x="420" y="72"/>
                  </a:lnTo>
                  <a:moveTo>
                    <a:pt x="368" y="63"/>
                  </a:moveTo>
                  <a:lnTo>
                    <a:pt x="368" y="63"/>
                  </a:lnTo>
                  <a:lnTo>
                    <a:pt x="315" y="54"/>
                  </a:lnTo>
                  <a:moveTo>
                    <a:pt x="263" y="45"/>
                  </a:moveTo>
                  <a:lnTo>
                    <a:pt x="263" y="45"/>
                  </a:lnTo>
                  <a:lnTo>
                    <a:pt x="210" y="36"/>
                  </a:lnTo>
                  <a:moveTo>
                    <a:pt x="158" y="27"/>
                  </a:moveTo>
                  <a:lnTo>
                    <a:pt x="158" y="27"/>
                  </a:lnTo>
                  <a:lnTo>
                    <a:pt x="105" y="18"/>
                  </a:lnTo>
                  <a:moveTo>
                    <a:pt x="52" y="9"/>
                  </a:moveTo>
                  <a:lnTo>
                    <a:pt x="52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4007" y="1897"/>
              <a:ext cx="125" cy="8"/>
            </a:xfrm>
            <a:custGeom>
              <a:avLst/>
              <a:gdLst>
                <a:gd name="T0" fmla="*/ 586 w 586"/>
                <a:gd name="T1" fmla="*/ 0 h 38"/>
                <a:gd name="T2" fmla="*/ 586 w 586"/>
                <a:gd name="T3" fmla="*/ 0 h 38"/>
                <a:gd name="T4" fmla="*/ 533 w 586"/>
                <a:gd name="T5" fmla="*/ 3 h 38"/>
                <a:gd name="T6" fmla="*/ 479 w 586"/>
                <a:gd name="T7" fmla="*/ 6 h 38"/>
                <a:gd name="T8" fmla="*/ 479 w 586"/>
                <a:gd name="T9" fmla="*/ 6 h 38"/>
                <a:gd name="T10" fmla="*/ 426 w 586"/>
                <a:gd name="T11" fmla="*/ 10 h 38"/>
                <a:gd name="T12" fmla="*/ 373 w 586"/>
                <a:gd name="T13" fmla="*/ 13 h 38"/>
                <a:gd name="T14" fmla="*/ 373 w 586"/>
                <a:gd name="T15" fmla="*/ 13 h 38"/>
                <a:gd name="T16" fmla="*/ 320 w 586"/>
                <a:gd name="T17" fmla="*/ 17 h 38"/>
                <a:gd name="T18" fmla="*/ 266 w 586"/>
                <a:gd name="T19" fmla="*/ 20 h 38"/>
                <a:gd name="T20" fmla="*/ 266 w 586"/>
                <a:gd name="T21" fmla="*/ 20 h 38"/>
                <a:gd name="T22" fmla="*/ 213 w 586"/>
                <a:gd name="T23" fmla="*/ 24 h 38"/>
                <a:gd name="T24" fmla="*/ 160 w 586"/>
                <a:gd name="T25" fmla="*/ 27 h 38"/>
                <a:gd name="T26" fmla="*/ 160 w 586"/>
                <a:gd name="T27" fmla="*/ 27 h 38"/>
                <a:gd name="T28" fmla="*/ 107 w 586"/>
                <a:gd name="T29" fmla="*/ 31 h 38"/>
                <a:gd name="T30" fmla="*/ 54 w 586"/>
                <a:gd name="T31" fmla="*/ 34 h 38"/>
                <a:gd name="T32" fmla="*/ 54 w 586"/>
                <a:gd name="T33" fmla="*/ 34 h 38"/>
                <a:gd name="T34" fmla="*/ 0 w 586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6" h="38">
                  <a:moveTo>
                    <a:pt x="586" y="0"/>
                  </a:moveTo>
                  <a:lnTo>
                    <a:pt x="586" y="0"/>
                  </a:lnTo>
                  <a:lnTo>
                    <a:pt x="533" y="3"/>
                  </a:lnTo>
                  <a:moveTo>
                    <a:pt x="479" y="6"/>
                  </a:moveTo>
                  <a:lnTo>
                    <a:pt x="479" y="6"/>
                  </a:lnTo>
                  <a:lnTo>
                    <a:pt x="426" y="10"/>
                  </a:lnTo>
                  <a:moveTo>
                    <a:pt x="373" y="13"/>
                  </a:moveTo>
                  <a:lnTo>
                    <a:pt x="373" y="13"/>
                  </a:lnTo>
                  <a:lnTo>
                    <a:pt x="320" y="17"/>
                  </a:lnTo>
                  <a:moveTo>
                    <a:pt x="266" y="20"/>
                  </a:moveTo>
                  <a:lnTo>
                    <a:pt x="266" y="20"/>
                  </a:lnTo>
                  <a:lnTo>
                    <a:pt x="213" y="24"/>
                  </a:lnTo>
                  <a:moveTo>
                    <a:pt x="160" y="27"/>
                  </a:moveTo>
                  <a:lnTo>
                    <a:pt x="160" y="27"/>
                  </a:lnTo>
                  <a:lnTo>
                    <a:pt x="107" y="31"/>
                  </a:lnTo>
                  <a:moveTo>
                    <a:pt x="54" y="34"/>
                  </a:moveTo>
                  <a:lnTo>
                    <a:pt x="54" y="34"/>
                  </a:lnTo>
                  <a:lnTo>
                    <a:pt x="0" y="38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3865" y="1852"/>
              <a:ext cx="116" cy="48"/>
            </a:xfrm>
            <a:custGeom>
              <a:avLst/>
              <a:gdLst>
                <a:gd name="T0" fmla="*/ 542 w 542"/>
                <a:gd name="T1" fmla="*/ 225 h 225"/>
                <a:gd name="T2" fmla="*/ 542 w 542"/>
                <a:gd name="T3" fmla="*/ 225 h 225"/>
                <a:gd name="T4" fmla="*/ 493 w 542"/>
                <a:gd name="T5" fmla="*/ 204 h 225"/>
                <a:gd name="T6" fmla="*/ 443 w 542"/>
                <a:gd name="T7" fmla="*/ 184 h 225"/>
                <a:gd name="T8" fmla="*/ 443 w 542"/>
                <a:gd name="T9" fmla="*/ 184 h 225"/>
                <a:gd name="T10" fmla="*/ 394 w 542"/>
                <a:gd name="T11" fmla="*/ 163 h 225"/>
                <a:gd name="T12" fmla="*/ 345 w 542"/>
                <a:gd name="T13" fmla="*/ 143 h 225"/>
                <a:gd name="T14" fmla="*/ 345 w 542"/>
                <a:gd name="T15" fmla="*/ 143 h 225"/>
                <a:gd name="T16" fmla="*/ 296 w 542"/>
                <a:gd name="T17" fmla="*/ 123 h 225"/>
                <a:gd name="T18" fmla="*/ 246 w 542"/>
                <a:gd name="T19" fmla="*/ 102 h 225"/>
                <a:gd name="T20" fmla="*/ 246 w 542"/>
                <a:gd name="T21" fmla="*/ 102 h 225"/>
                <a:gd name="T22" fmla="*/ 197 w 542"/>
                <a:gd name="T23" fmla="*/ 82 h 225"/>
                <a:gd name="T24" fmla="*/ 148 w 542"/>
                <a:gd name="T25" fmla="*/ 61 h 225"/>
                <a:gd name="T26" fmla="*/ 148 w 542"/>
                <a:gd name="T27" fmla="*/ 61 h 225"/>
                <a:gd name="T28" fmla="*/ 98 w 542"/>
                <a:gd name="T29" fmla="*/ 41 h 225"/>
                <a:gd name="T30" fmla="*/ 49 w 542"/>
                <a:gd name="T31" fmla="*/ 20 h 225"/>
                <a:gd name="T32" fmla="*/ 49 w 542"/>
                <a:gd name="T33" fmla="*/ 20 h 225"/>
                <a:gd name="T34" fmla="*/ 0 w 542"/>
                <a:gd name="T3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2" h="225">
                  <a:moveTo>
                    <a:pt x="542" y="225"/>
                  </a:moveTo>
                  <a:lnTo>
                    <a:pt x="542" y="225"/>
                  </a:lnTo>
                  <a:lnTo>
                    <a:pt x="493" y="204"/>
                  </a:lnTo>
                  <a:moveTo>
                    <a:pt x="443" y="184"/>
                  </a:moveTo>
                  <a:lnTo>
                    <a:pt x="443" y="184"/>
                  </a:lnTo>
                  <a:lnTo>
                    <a:pt x="394" y="163"/>
                  </a:lnTo>
                  <a:moveTo>
                    <a:pt x="345" y="143"/>
                  </a:moveTo>
                  <a:lnTo>
                    <a:pt x="345" y="143"/>
                  </a:lnTo>
                  <a:lnTo>
                    <a:pt x="296" y="123"/>
                  </a:lnTo>
                  <a:moveTo>
                    <a:pt x="246" y="102"/>
                  </a:moveTo>
                  <a:lnTo>
                    <a:pt x="246" y="102"/>
                  </a:lnTo>
                  <a:lnTo>
                    <a:pt x="197" y="82"/>
                  </a:lnTo>
                  <a:moveTo>
                    <a:pt x="148" y="61"/>
                  </a:moveTo>
                  <a:lnTo>
                    <a:pt x="148" y="61"/>
                  </a:lnTo>
                  <a:lnTo>
                    <a:pt x="98" y="41"/>
                  </a:lnTo>
                  <a:moveTo>
                    <a:pt x="49" y="20"/>
                  </a:moveTo>
                  <a:lnTo>
                    <a:pt x="49" y="2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8" name="Freeform 57"/>
            <p:cNvSpPr>
              <a:spLocks noEditPoints="1"/>
            </p:cNvSpPr>
            <p:nvPr/>
          </p:nvSpPr>
          <p:spPr bwMode="auto">
            <a:xfrm>
              <a:off x="3860" y="1861"/>
              <a:ext cx="27" cy="145"/>
            </a:xfrm>
            <a:custGeom>
              <a:avLst/>
              <a:gdLst>
                <a:gd name="T0" fmla="*/ 128 w 128"/>
                <a:gd name="T1" fmla="*/ 682 h 682"/>
                <a:gd name="T2" fmla="*/ 128 w 128"/>
                <a:gd name="T3" fmla="*/ 682 h 682"/>
                <a:gd name="T4" fmla="*/ 118 w 128"/>
                <a:gd name="T5" fmla="*/ 629 h 682"/>
                <a:gd name="T6" fmla="*/ 108 w 128"/>
                <a:gd name="T7" fmla="*/ 577 h 682"/>
                <a:gd name="T8" fmla="*/ 108 w 128"/>
                <a:gd name="T9" fmla="*/ 577 h 682"/>
                <a:gd name="T10" fmla="*/ 98 w 128"/>
                <a:gd name="T11" fmla="*/ 524 h 682"/>
                <a:gd name="T12" fmla="*/ 88 w 128"/>
                <a:gd name="T13" fmla="*/ 472 h 682"/>
                <a:gd name="T14" fmla="*/ 88 w 128"/>
                <a:gd name="T15" fmla="*/ 472 h 682"/>
                <a:gd name="T16" fmla="*/ 79 w 128"/>
                <a:gd name="T17" fmla="*/ 419 h 682"/>
                <a:gd name="T18" fmla="*/ 69 w 128"/>
                <a:gd name="T19" fmla="*/ 367 h 682"/>
                <a:gd name="T20" fmla="*/ 69 w 128"/>
                <a:gd name="T21" fmla="*/ 367 h 682"/>
                <a:gd name="T22" fmla="*/ 59 w 128"/>
                <a:gd name="T23" fmla="*/ 315 h 682"/>
                <a:gd name="T24" fmla="*/ 49 w 128"/>
                <a:gd name="T25" fmla="*/ 262 h 682"/>
                <a:gd name="T26" fmla="*/ 49 w 128"/>
                <a:gd name="T27" fmla="*/ 262 h 682"/>
                <a:gd name="T28" fmla="*/ 39 w 128"/>
                <a:gd name="T29" fmla="*/ 210 h 682"/>
                <a:gd name="T30" fmla="*/ 29 w 128"/>
                <a:gd name="T31" fmla="*/ 157 h 682"/>
                <a:gd name="T32" fmla="*/ 29 w 128"/>
                <a:gd name="T33" fmla="*/ 157 h 682"/>
                <a:gd name="T34" fmla="*/ 20 w 128"/>
                <a:gd name="T35" fmla="*/ 105 h 682"/>
                <a:gd name="T36" fmla="*/ 10 w 128"/>
                <a:gd name="T37" fmla="*/ 52 h 682"/>
                <a:gd name="T38" fmla="*/ 10 w 128"/>
                <a:gd name="T39" fmla="*/ 52 h 682"/>
                <a:gd name="T40" fmla="*/ 0 w 128"/>
                <a:gd name="T41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682">
                  <a:moveTo>
                    <a:pt x="128" y="682"/>
                  </a:moveTo>
                  <a:lnTo>
                    <a:pt x="128" y="682"/>
                  </a:lnTo>
                  <a:lnTo>
                    <a:pt x="118" y="629"/>
                  </a:lnTo>
                  <a:moveTo>
                    <a:pt x="108" y="577"/>
                  </a:moveTo>
                  <a:lnTo>
                    <a:pt x="108" y="577"/>
                  </a:lnTo>
                  <a:lnTo>
                    <a:pt x="98" y="524"/>
                  </a:lnTo>
                  <a:moveTo>
                    <a:pt x="88" y="472"/>
                  </a:moveTo>
                  <a:lnTo>
                    <a:pt x="88" y="472"/>
                  </a:lnTo>
                  <a:lnTo>
                    <a:pt x="79" y="419"/>
                  </a:lnTo>
                  <a:moveTo>
                    <a:pt x="69" y="367"/>
                  </a:moveTo>
                  <a:lnTo>
                    <a:pt x="69" y="367"/>
                  </a:lnTo>
                  <a:lnTo>
                    <a:pt x="59" y="315"/>
                  </a:lnTo>
                  <a:moveTo>
                    <a:pt x="49" y="262"/>
                  </a:moveTo>
                  <a:lnTo>
                    <a:pt x="49" y="262"/>
                  </a:lnTo>
                  <a:lnTo>
                    <a:pt x="39" y="210"/>
                  </a:lnTo>
                  <a:moveTo>
                    <a:pt x="29" y="157"/>
                  </a:moveTo>
                  <a:lnTo>
                    <a:pt x="29" y="157"/>
                  </a:lnTo>
                  <a:lnTo>
                    <a:pt x="20" y="105"/>
                  </a:lnTo>
                  <a:moveTo>
                    <a:pt x="10" y="52"/>
                  </a:moveTo>
                  <a:lnTo>
                    <a:pt x="10" y="5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9" name="Freeform 58"/>
            <p:cNvSpPr>
              <a:spLocks noEditPoints="1"/>
            </p:cNvSpPr>
            <p:nvPr/>
          </p:nvSpPr>
          <p:spPr bwMode="auto">
            <a:xfrm>
              <a:off x="3900" y="2019"/>
              <a:ext cx="80" cy="0"/>
            </a:xfrm>
            <a:custGeom>
              <a:avLst/>
              <a:gdLst>
                <a:gd name="T0" fmla="*/ 373 w 373"/>
                <a:gd name="T1" fmla="*/ 373 w 373"/>
                <a:gd name="T2" fmla="*/ 320 w 373"/>
                <a:gd name="T3" fmla="*/ 266 w 373"/>
                <a:gd name="T4" fmla="*/ 266 w 373"/>
                <a:gd name="T5" fmla="*/ 213 w 373"/>
                <a:gd name="T6" fmla="*/ 160 w 373"/>
                <a:gd name="T7" fmla="*/ 160 w 373"/>
                <a:gd name="T8" fmla="*/ 106 w 373"/>
                <a:gd name="T9" fmla="*/ 53 w 373"/>
                <a:gd name="T10" fmla="*/ 53 w 373"/>
                <a:gd name="T11" fmla="*/ 0 w 3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373">
                  <a:moveTo>
                    <a:pt x="373" y="0"/>
                  </a:moveTo>
                  <a:lnTo>
                    <a:pt x="373" y="0"/>
                  </a:lnTo>
                  <a:lnTo>
                    <a:pt x="320" y="0"/>
                  </a:lnTo>
                  <a:moveTo>
                    <a:pt x="266" y="0"/>
                  </a:moveTo>
                  <a:lnTo>
                    <a:pt x="266" y="0"/>
                  </a:lnTo>
                  <a:lnTo>
                    <a:pt x="213" y="0"/>
                  </a:lnTo>
                  <a:moveTo>
                    <a:pt x="160" y="0"/>
                  </a:moveTo>
                  <a:lnTo>
                    <a:pt x="160" y="0"/>
                  </a:lnTo>
                  <a:lnTo>
                    <a:pt x="106" y="0"/>
                  </a:lnTo>
                  <a:moveTo>
                    <a:pt x="53" y="0"/>
                  </a:move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auto">
            <a:xfrm>
              <a:off x="3992" y="1927"/>
              <a:ext cx="0" cy="79"/>
            </a:xfrm>
            <a:custGeom>
              <a:avLst/>
              <a:gdLst>
                <a:gd name="T0" fmla="*/ 374 h 374"/>
                <a:gd name="T1" fmla="*/ 374 h 374"/>
                <a:gd name="T2" fmla="*/ 320 h 374"/>
                <a:gd name="T3" fmla="*/ 267 h 374"/>
                <a:gd name="T4" fmla="*/ 267 h 374"/>
                <a:gd name="T5" fmla="*/ 214 h 374"/>
                <a:gd name="T6" fmla="*/ 160 h 374"/>
                <a:gd name="T7" fmla="*/ 160 h 374"/>
                <a:gd name="T8" fmla="*/ 107 h 374"/>
                <a:gd name="T9" fmla="*/ 54 h 374"/>
                <a:gd name="T10" fmla="*/ 54 h 374"/>
                <a:gd name="T11" fmla="*/ 0 h 37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</a:cxnLst>
              <a:rect l="0" t="0" r="r" b="b"/>
              <a:pathLst>
                <a:path h="374">
                  <a:moveTo>
                    <a:pt x="0" y="374"/>
                  </a:moveTo>
                  <a:lnTo>
                    <a:pt x="0" y="374"/>
                  </a:lnTo>
                  <a:lnTo>
                    <a:pt x="0" y="320"/>
                  </a:lnTo>
                  <a:moveTo>
                    <a:pt x="0" y="267"/>
                  </a:moveTo>
                  <a:lnTo>
                    <a:pt x="0" y="267"/>
                  </a:lnTo>
                  <a:lnTo>
                    <a:pt x="0" y="214"/>
                  </a:lnTo>
                  <a:moveTo>
                    <a:pt x="0" y="160"/>
                  </a:moveTo>
                  <a:lnTo>
                    <a:pt x="0" y="160"/>
                  </a:lnTo>
                  <a:lnTo>
                    <a:pt x="0" y="107"/>
                  </a:lnTo>
                  <a:moveTo>
                    <a:pt x="0" y="54"/>
                  </a:move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4003" y="1902"/>
              <a:ext cx="134" cy="107"/>
            </a:xfrm>
            <a:custGeom>
              <a:avLst/>
              <a:gdLst>
                <a:gd name="T0" fmla="*/ 627 w 627"/>
                <a:gd name="T1" fmla="*/ 0 h 497"/>
                <a:gd name="T2" fmla="*/ 627 w 627"/>
                <a:gd name="T3" fmla="*/ 0 h 497"/>
                <a:gd name="T4" fmla="*/ 585 w 627"/>
                <a:gd name="T5" fmla="*/ 33 h 497"/>
                <a:gd name="T6" fmla="*/ 544 w 627"/>
                <a:gd name="T7" fmla="*/ 66 h 497"/>
                <a:gd name="T8" fmla="*/ 544 w 627"/>
                <a:gd name="T9" fmla="*/ 66 h 497"/>
                <a:gd name="T10" fmla="*/ 502 w 627"/>
                <a:gd name="T11" fmla="*/ 99 h 497"/>
                <a:gd name="T12" fmla="*/ 460 w 627"/>
                <a:gd name="T13" fmla="*/ 132 h 497"/>
                <a:gd name="T14" fmla="*/ 460 w 627"/>
                <a:gd name="T15" fmla="*/ 132 h 497"/>
                <a:gd name="T16" fmla="*/ 418 w 627"/>
                <a:gd name="T17" fmla="*/ 165 h 497"/>
                <a:gd name="T18" fmla="*/ 376 w 627"/>
                <a:gd name="T19" fmla="*/ 198 h 497"/>
                <a:gd name="T20" fmla="*/ 376 w 627"/>
                <a:gd name="T21" fmla="*/ 198 h 497"/>
                <a:gd name="T22" fmla="*/ 335 w 627"/>
                <a:gd name="T23" fmla="*/ 232 h 497"/>
                <a:gd name="T24" fmla="*/ 293 w 627"/>
                <a:gd name="T25" fmla="*/ 265 h 497"/>
                <a:gd name="T26" fmla="*/ 293 w 627"/>
                <a:gd name="T27" fmla="*/ 265 h 497"/>
                <a:gd name="T28" fmla="*/ 251 w 627"/>
                <a:gd name="T29" fmla="*/ 298 h 497"/>
                <a:gd name="T30" fmla="*/ 209 w 627"/>
                <a:gd name="T31" fmla="*/ 331 h 497"/>
                <a:gd name="T32" fmla="*/ 209 w 627"/>
                <a:gd name="T33" fmla="*/ 331 h 497"/>
                <a:gd name="T34" fmla="*/ 167 w 627"/>
                <a:gd name="T35" fmla="*/ 364 h 497"/>
                <a:gd name="T36" fmla="*/ 126 w 627"/>
                <a:gd name="T37" fmla="*/ 397 h 497"/>
                <a:gd name="T38" fmla="*/ 126 w 627"/>
                <a:gd name="T39" fmla="*/ 397 h 497"/>
                <a:gd name="T40" fmla="*/ 84 w 627"/>
                <a:gd name="T41" fmla="*/ 430 h 497"/>
                <a:gd name="T42" fmla="*/ 42 w 627"/>
                <a:gd name="T43" fmla="*/ 463 h 497"/>
                <a:gd name="T44" fmla="*/ 42 w 627"/>
                <a:gd name="T45" fmla="*/ 463 h 497"/>
                <a:gd name="T46" fmla="*/ 0 w 627"/>
                <a:gd name="T47" fmla="*/ 49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7" h="497">
                  <a:moveTo>
                    <a:pt x="627" y="0"/>
                  </a:moveTo>
                  <a:lnTo>
                    <a:pt x="627" y="0"/>
                  </a:lnTo>
                  <a:lnTo>
                    <a:pt x="585" y="33"/>
                  </a:lnTo>
                  <a:moveTo>
                    <a:pt x="544" y="66"/>
                  </a:moveTo>
                  <a:lnTo>
                    <a:pt x="544" y="66"/>
                  </a:lnTo>
                  <a:lnTo>
                    <a:pt x="502" y="99"/>
                  </a:lnTo>
                  <a:moveTo>
                    <a:pt x="460" y="132"/>
                  </a:moveTo>
                  <a:lnTo>
                    <a:pt x="460" y="132"/>
                  </a:lnTo>
                  <a:lnTo>
                    <a:pt x="418" y="165"/>
                  </a:lnTo>
                  <a:moveTo>
                    <a:pt x="376" y="198"/>
                  </a:moveTo>
                  <a:lnTo>
                    <a:pt x="376" y="198"/>
                  </a:lnTo>
                  <a:lnTo>
                    <a:pt x="335" y="232"/>
                  </a:lnTo>
                  <a:moveTo>
                    <a:pt x="293" y="265"/>
                  </a:moveTo>
                  <a:lnTo>
                    <a:pt x="293" y="265"/>
                  </a:lnTo>
                  <a:lnTo>
                    <a:pt x="251" y="298"/>
                  </a:lnTo>
                  <a:moveTo>
                    <a:pt x="209" y="331"/>
                  </a:moveTo>
                  <a:lnTo>
                    <a:pt x="209" y="331"/>
                  </a:lnTo>
                  <a:lnTo>
                    <a:pt x="167" y="364"/>
                  </a:lnTo>
                  <a:moveTo>
                    <a:pt x="126" y="397"/>
                  </a:moveTo>
                  <a:lnTo>
                    <a:pt x="126" y="397"/>
                  </a:lnTo>
                  <a:lnTo>
                    <a:pt x="84" y="430"/>
                  </a:lnTo>
                  <a:moveTo>
                    <a:pt x="42" y="463"/>
                  </a:moveTo>
                  <a:lnTo>
                    <a:pt x="42" y="463"/>
                  </a:lnTo>
                  <a:lnTo>
                    <a:pt x="0" y="497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4115" y="1904"/>
              <a:ext cx="28" cy="145"/>
            </a:xfrm>
            <a:custGeom>
              <a:avLst/>
              <a:gdLst>
                <a:gd name="T0" fmla="*/ 131 w 131"/>
                <a:gd name="T1" fmla="*/ 0 h 680"/>
                <a:gd name="T2" fmla="*/ 131 w 131"/>
                <a:gd name="T3" fmla="*/ 0 h 680"/>
                <a:gd name="T4" fmla="*/ 121 w 131"/>
                <a:gd name="T5" fmla="*/ 52 h 680"/>
                <a:gd name="T6" fmla="*/ 111 w 131"/>
                <a:gd name="T7" fmla="*/ 104 h 680"/>
                <a:gd name="T8" fmla="*/ 111 w 131"/>
                <a:gd name="T9" fmla="*/ 104 h 680"/>
                <a:gd name="T10" fmla="*/ 101 w 131"/>
                <a:gd name="T11" fmla="*/ 157 h 680"/>
                <a:gd name="T12" fmla="*/ 91 w 131"/>
                <a:gd name="T13" fmla="*/ 209 h 680"/>
                <a:gd name="T14" fmla="*/ 91 w 131"/>
                <a:gd name="T15" fmla="*/ 209 h 680"/>
                <a:gd name="T16" fmla="*/ 80 w 131"/>
                <a:gd name="T17" fmla="*/ 261 h 680"/>
                <a:gd name="T18" fmla="*/ 70 w 131"/>
                <a:gd name="T19" fmla="*/ 314 h 680"/>
                <a:gd name="T20" fmla="*/ 70 w 131"/>
                <a:gd name="T21" fmla="*/ 314 h 680"/>
                <a:gd name="T22" fmla="*/ 60 w 131"/>
                <a:gd name="T23" fmla="*/ 366 h 680"/>
                <a:gd name="T24" fmla="*/ 50 w 131"/>
                <a:gd name="T25" fmla="*/ 418 h 680"/>
                <a:gd name="T26" fmla="*/ 50 w 131"/>
                <a:gd name="T27" fmla="*/ 418 h 680"/>
                <a:gd name="T28" fmla="*/ 40 w 131"/>
                <a:gd name="T29" fmla="*/ 471 h 680"/>
                <a:gd name="T30" fmla="*/ 30 w 131"/>
                <a:gd name="T31" fmla="*/ 523 h 680"/>
                <a:gd name="T32" fmla="*/ 30 w 131"/>
                <a:gd name="T33" fmla="*/ 523 h 680"/>
                <a:gd name="T34" fmla="*/ 20 w 131"/>
                <a:gd name="T35" fmla="*/ 576 h 680"/>
                <a:gd name="T36" fmla="*/ 10 w 131"/>
                <a:gd name="T37" fmla="*/ 628 h 680"/>
                <a:gd name="T38" fmla="*/ 10 w 131"/>
                <a:gd name="T39" fmla="*/ 628 h 680"/>
                <a:gd name="T40" fmla="*/ 0 w 131"/>
                <a:gd name="T41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680">
                  <a:moveTo>
                    <a:pt x="131" y="0"/>
                  </a:moveTo>
                  <a:lnTo>
                    <a:pt x="131" y="0"/>
                  </a:lnTo>
                  <a:lnTo>
                    <a:pt x="121" y="52"/>
                  </a:lnTo>
                  <a:moveTo>
                    <a:pt x="111" y="104"/>
                  </a:moveTo>
                  <a:lnTo>
                    <a:pt x="111" y="104"/>
                  </a:lnTo>
                  <a:lnTo>
                    <a:pt x="101" y="157"/>
                  </a:lnTo>
                  <a:moveTo>
                    <a:pt x="91" y="209"/>
                  </a:moveTo>
                  <a:lnTo>
                    <a:pt x="91" y="209"/>
                  </a:lnTo>
                  <a:lnTo>
                    <a:pt x="80" y="261"/>
                  </a:lnTo>
                  <a:moveTo>
                    <a:pt x="70" y="314"/>
                  </a:moveTo>
                  <a:lnTo>
                    <a:pt x="70" y="314"/>
                  </a:lnTo>
                  <a:lnTo>
                    <a:pt x="60" y="366"/>
                  </a:lnTo>
                  <a:moveTo>
                    <a:pt x="50" y="418"/>
                  </a:moveTo>
                  <a:lnTo>
                    <a:pt x="50" y="418"/>
                  </a:lnTo>
                  <a:lnTo>
                    <a:pt x="40" y="471"/>
                  </a:lnTo>
                  <a:moveTo>
                    <a:pt x="30" y="523"/>
                  </a:moveTo>
                  <a:lnTo>
                    <a:pt x="30" y="523"/>
                  </a:lnTo>
                  <a:lnTo>
                    <a:pt x="20" y="576"/>
                  </a:lnTo>
                  <a:moveTo>
                    <a:pt x="10" y="628"/>
                  </a:moveTo>
                  <a:lnTo>
                    <a:pt x="10" y="628"/>
                  </a:lnTo>
                  <a:lnTo>
                    <a:pt x="0" y="68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auto">
            <a:xfrm>
              <a:off x="4011" y="1997"/>
              <a:ext cx="215" cy="22"/>
            </a:xfrm>
            <a:custGeom>
              <a:avLst/>
              <a:gdLst>
                <a:gd name="T0" fmla="*/ 1008 w 1008"/>
                <a:gd name="T1" fmla="*/ 0 h 103"/>
                <a:gd name="T2" fmla="*/ 1008 w 1008"/>
                <a:gd name="T3" fmla="*/ 0 h 103"/>
                <a:gd name="T4" fmla="*/ 955 w 1008"/>
                <a:gd name="T5" fmla="*/ 6 h 103"/>
                <a:gd name="T6" fmla="*/ 902 w 1008"/>
                <a:gd name="T7" fmla="*/ 11 h 103"/>
                <a:gd name="T8" fmla="*/ 902 w 1008"/>
                <a:gd name="T9" fmla="*/ 11 h 103"/>
                <a:gd name="T10" fmla="*/ 849 w 1008"/>
                <a:gd name="T11" fmla="*/ 16 h 103"/>
                <a:gd name="T12" fmla="*/ 796 w 1008"/>
                <a:gd name="T13" fmla="*/ 22 h 103"/>
                <a:gd name="T14" fmla="*/ 796 w 1008"/>
                <a:gd name="T15" fmla="*/ 22 h 103"/>
                <a:gd name="T16" fmla="*/ 742 w 1008"/>
                <a:gd name="T17" fmla="*/ 27 h 103"/>
                <a:gd name="T18" fmla="*/ 689 w 1008"/>
                <a:gd name="T19" fmla="*/ 33 h 103"/>
                <a:gd name="T20" fmla="*/ 689 w 1008"/>
                <a:gd name="T21" fmla="*/ 33 h 103"/>
                <a:gd name="T22" fmla="*/ 636 w 1008"/>
                <a:gd name="T23" fmla="*/ 38 h 103"/>
                <a:gd name="T24" fmla="*/ 583 w 1008"/>
                <a:gd name="T25" fmla="*/ 43 h 103"/>
                <a:gd name="T26" fmla="*/ 583 w 1008"/>
                <a:gd name="T27" fmla="*/ 43 h 103"/>
                <a:gd name="T28" fmla="*/ 530 w 1008"/>
                <a:gd name="T29" fmla="*/ 49 h 103"/>
                <a:gd name="T30" fmla="*/ 477 w 1008"/>
                <a:gd name="T31" fmla="*/ 54 h 103"/>
                <a:gd name="T32" fmla="*/ 477 w 1008"/>
                <a:gd name="T33" fmla="*/ 54 h 103"/>
                <a:gd name="T34" fmla="*/ 424 w 1008"/>
                <a:gd name="T35" fmla="*/ 60 h 103"/>
                <a:gd name="T36" fmla="*/ 371 w 1008"/>
                <a:gd name="T37" fmla="*/ 65 h 103"/>
                <a:gd name="T38" fmla="*/ 371 w 1008"/>
                <a:gd name="T39" fmla="*/ 65 h 103"/>
                <a:gd name="T40" fmla="*/ 318 w 1008"/>
                <a:gd name="T41" fmla="*/ 70 h 103"/>
                <a:gd name="T42" fmla="*/ 265 w 1008"/>
                <a:gd name="T43" fmla="*/ 76 h 103"/>
                <a:gd name="T44" fmla="*/ 265 w 1008"/>
                <a:gd name="T45" fmla="*/ 76 h 103"/>
                <a:gd name="T46" fmla="*/ 212 w 1008"/>
                <a:gd name="T47" fmla="*/ 81 h 103"/>
                <a:gd name="T48" fmla="*/ 159 w 1008"/>
                <a:gd name="T49" fmla="*/ 87 h 103"/>
                <a:gd name="T50" fmla="*/ 159 w 1008"/>
                <a:gd name="T51" fmla="*/ 87 h 103"/>
                <a:gd name="T52" fmla="*/ 106 w 1008"/>
                <a:gd name="T53" fmla="*/ 92 h 103"/>
                <a:gd name="T54" fmla="*/ 53 w 1008"/>
                <a:gd name="T55" fmla="*/ 97 h 103"/>
                <a:gd name="T56" fmla="*/ 53 w 1008"/>
                <a:gd name="T57" fmla="*/ 97 h 103"/>
                <a:gd name="T58" fmla="*/ 0 w 1008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8" h="103">
                  <a:moveTo>
                    <a:pt x="1008" y="0"/>
                  </a:moveTo>
                  <a:lnTo>
                    <a:pt x="1008" y="0"/>
                  </a:lnTo>
                  <a:lnTo>
                    <a:pt x="955" y="6"/>
                  </a:lnTo>
                  <a:moveTo>
                    <a:pt x="902" y="11"/>
                  </a:moveTo>
                  <a:lnTo>
                    <a:pt x="902" y="11"/>
                  </a:lnTo>
                  <a:lnTo>
                    <a:pt x="849" y="16"/>
                  </a:lnTo>
                  <a:moveTo>
                    <a:pt x="796" y="22"/>
                  </a:moveTo>
                  <a:lnTo>
                    <a:pt x="796" y="22"/>
                  </a:lnTo>
                  <a:lnTo>
                    <a:pt x="742" y="27"/>
                  </a:lnTo>
                  <a:moveTo>
                    <a:pt x="689" y="33"/>
                  </a:moveTo>
                  <a:lnTo>
                    <a:pt x="689" y="33"/>
                  </a:lnTo>
                  <a:lnTo>
                    <a:pt x="636" y="38"/>
                  </a:lnTo>
                  <a:moveTo>
                    <a:pt x="583" y="43"/>
                  </a:moveTo>
                  <a:lnTo>
                    <a:pt x="583" y="43"/>
                  </a:lnTo>
                  <a:lnTo>
                    <a:pt x="530" y="49"/>
                  </a:lnTo>
                  <a:moveTo>
                    <a:pt x="477" y="54"/>
                  </a:moveTo>
                  <a:lnTo>
                    <a:pt x="477" y="54"/>
                  </a:lnTo>
                  <a:lnTo>
                    <a:pt x="424" y="60"/>
                  </a:lnTo>
                  <a:moveTo>
                    <a:pt x="371" y="65"/>
                  </a:moveTo>
                  <a:lnTo>
                    <a:pt x="371" y="65"/>
                  </a:lnTo>
                  <a:lnTo>
                    <a:pt x="318" y="70"/>
                  </a:lnTo>
                  <a:moveTo>
                    <a:pt x="265" y="76"/>
                  </a:moveTo>
                  <a:lnTo>
                    <a:pt x="265" y="76"/>
                  </a:lnTo>
                  <a:lnTo>
                    <a:pt x="212" y="81"/>
                  </a:lnTo>
                  <a:moveTo>
                    <a:pt x="159" y="87"/>
                  </a:moveTo>
                  <a:lnTo>
                    <a:pt x="159" y="87"/>
                  </a:lnTo>
                  <a:lnTo>
                    <a:pt x="106" y="92"/>
                  </a:lnTo>
                  <a:moveTo>
                    <a:pt x="53" y="97"/>
                  </a:moveTo>
                  <a:lnTo>
                    <a:pt x="53" y="97"/>
                  </a:lnTo>
                  <a:lnTo>
                    <a:pt x="0" y="103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4004" y="2029"/>
              <a:ext cx="98" cy="30"/>
            </a:xfrm>
            <a:custGeom>
              <a:avLst/>
              <a:gdLst>
                <a:gd name="T0" fmla="*/ 459 w 459"/>
                <a:gd name="T1" fmla="*/ 140 h 140"/>
                <a:gd name="T2" fmla="*/ 459 w 459"/>
                <a:gd name="T3" fmla="*/ 140 h 140"/>
                <a:gd name="T4" fmla="*/ 408 w 459"/>
                <a:gd name="T5" fmla="*/ 125 h 140"/>
                <a:gd name="T6" fmla="*/ 357 w 459"/>
                <a:gd name="T7" fmla="*/ 109 h 140"/>
                <a:gd name="T8" fmla="*/ 357 w 459"/>
                <a:gd name="T9" fmla="*/ 109 h 140"/>
                <a:gd name="T10" fmla="*/ 306 w 459"/>
                <a:gd name="T11" fmla="*/ 94 h 140"/>
                <a:gd name="T12" fmla="*/ 255 w 459"/>
                <a:gd name="T13" fmla="*/ 78 h 140"/>
                <a:gd name="T14" fmla="*/ 255 w 459"/>
                <a:gd name="T15" fmla="*/ 78 h 140"/>
                <a:gd name="T16" fmla="*/ 204 w 459"/>
                <a:gd name="T17" fmla="*/ 63 h 140"/>
                <a:gd name="T18" fmla="*/ 153 w 459"/>
                <a:gd name="T19" fmla="*/ 47 h 140"/>
                <a:gd name="T20" fmla="*/ 153 w 459"/>
                <a:gd name="T21" fmla="*/ 47 h 140"/>
                <a:gd name="T22" fmla="*/ 102 w 459"/>
                <a:gd name="T23" fmla="*/ 31 h 140"/>
                <a:gd name="T24" fmla="*/ 51 w 459"/>
                <a:gd name="T25" fmla="*/ 16 h 140"/>
                <a:gd name="T26" fmla="*/ 51 w 459"/>
                <a:gd name="T27" fmla="*/ 16 h 140"/>
                <a:gd name="T28" fmla="*/ 0 w 459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9" h="140">
                  <a:moveTo>
                    <a:pt x="459" y="140"/>
                  </a:moveTo>
                  <a:lnTo>
                    <a:pt x="459" y="140"/>
                  </a:lnTo>
                  <a:lnTo>
                    <a:pt x="408" y="125"/>
                  </a:lnTo>
                  <a:moveTo>
                    <a:pt x="357" y="109"/>
                  </a:moveTo>
                  <a:lnTo>
                    <a:pt x="357" y="109"/>
                  </a:lnTo>
                  <a:lnTo>
                    <a:pt x="306" y="94"/>
                  </a:lnTo>
                  <a:moveTo>
                    <a:pt x="255" y="78"/>
                  </a:moveTo>
                  <a:lnTo>
                    <a:pt x="255" y="78"/>
                  </a:lnTo>
                  <a:lnTo>
                    <a:pt x="204" y="63"/>
                  </a:lnTo>
                  <a:moveTo>
                    <a:pt x="153" y="47"/>
                  </a:moveTo>
                  <a:lnTo>
                    <a:pt x="153" y="47"/>
                  </a:lnTo>
                  <a:lnTo>
                    <a:pt x="102" y="31"/>
                  </a:lnTo>
                  <a:moveTo>
                    <a:pt x="51" y="16"/>
                  </a:moveTo>
                  <a:lnTo>
                    <a:pt x="51" y="1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5" name="Freeform 64"/>
            <p:cNvSpPr>
              <a:spLocks noEditPoints="1"/>
            </p:cNvSpPr>
            <p:nvPr/>
          </p:nvSpPr>
          <p:spPr bwMode="auto">
            <a:xfrm>
              <a:off x="4126" y="2002"/>
              <a:ext cx="105" cy="58"/>
            </a:xfrm>
            <a:custGeom>
              <a:avLst/>
              <a:gdLst>
                <a:gd name="T0" fmla="*/ 0 w 491"/>
                <a:gd name="T1" fmla="*/ 270 h 270"/>
                <a:gd name="T2" fmla="*/ 0 w 491"/>
                <a:gd name="T3" fmla="*/ 270 h 270"/>
                <a:gd name="T4" fmla="*/ 47 w 491"/>
                <a:gd name="T5" fmla="*/ 244 h 270"/>
                <a:gd name="T6" fmla="*/ 94 w 491"/>
                <a:gd name="T7" fmla="*/ 218 h 270"/>
                <a:gd name="T8" fmla="*/ 94 w 491"/>
                <a:gd name="T9" fmla="*/ 218 h 270"/>
                <a:gd name="T10" fmla="*/ 141 w 491"/>
                <a:gd name="T11" fmla="*/ 193 h 270"/>
                <a:gd name="T12" fmla="*/ 187 w 491"/>
                <a:gd name="T13" fmla="*/ 167 h 270"/>
                <a:gd name="T14" fmla="*/ 187 w 491"/>
                <a:gd name="T15" fmla="*/ 167 h 270"/>
                <a:gd name="T16" fmla="*/ 234 w 491"/>
                <a:gd name="T17" fmla="*/ 141 h 270"/>
                <a:gd name="T18" fmla="*/ 281 w 491"/>
                <a:gd name="T19" fmla="*/ 116 h 270"/>
                <a:gd name="T20" fmla="*/ 281 w 491"/>
                <a:gd name="T21" fmla="*/ 116 h 270"/>
                <a:gd name="T22" fmla="*/ 328 w 491"/>
                <a:gd name="T23" fmla="*/ 90 h 270"/>
                <a:gd name="T24" fmla="*/ 375 w 491"/>
                <a:gd name="T25" fmla="*/ 64 h 270"/>
                <a:gd name="T26" fmla="*/ 375 w 491"/>
                <a:gd name="T27" fmla="*/ 64 h 270"/>
                <a:gd name="T28" fmla="*/ 421 w 491"/>
                <a:gd name="T29" fmla="*/ 39 h 270"/>
                <a:gd name="T30" fmla="*/ 468 w 491"/>
                <a:gd name="T31" fmla="*/ 13 h 270"/>
                <a:gd name="T32" fmla="*/ 468 w 491"/>
                <a:gd name="T33" fmla="*/ 13 h 270"/>
                <a:gd name="T34" fmla="*/ 491 w 491"/>
                <a:gd name="T3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1" h="270">
                  <a:moveTo>
                    <a:pt x="0" y="270"/>
                  </a:moveTo>
                  <a:lnTo>
                    <a:pt x="0" y="270"/>
                  </a:lnTo>
                  <a:lnTo>
                    <a:pt x="47" y="244"/>
                  </a:lnTo>
                  <a:moveTo>
                    <a:pt x="94" y="218"/>
                  </a:moveTo>
                  <a:lnTo>
                    <a:pt x="94" y="218"/>
                  </a:lnTo>
                  <a:lnTo>
                    <a:pt x="141" y="193"/>
                  </a:lnTo>
                  <a:moveTo>
                    <a:pt x="187" y="167"/>
                  </a:moveTo>
                  <a:lnTo>
                    <a:pt x="187" y="167"/>
                  </a:lnTo>
                  <a:lnTo>
                    <a:pt x="234" y="141"/>
                  </a:lnTo>
                  <a:moveTo>
                    <a:pt x="281" y="116"/>
                  </a:moveTo>
                  <a:lnTo>
                    <a:pt x="281" y="116"/>
                  </a:lnTo>
                  <a:lnTo>
                    <a:pt x="328" y="90"/>
                  </a:lnTo>
                  <a:moveTo>
                    <a:pt x="375" y="64"/>
                  </a:moveTo>
                  <a:lnTo>
                    <a:pt x="375" y="64"/>
                  </a:lnTo>
                  <a:lnTo>
                    <a:pt x="421" y="39"/>
                  </a:lnTo>
                  <a:moveTo>
                    <a:pt x="468" y="13"/>
                  </a:moveTo>
                  <a:lnTo>
                    <a:pt x="468" y="13"/>
                  </a:lnTo>
                  <a:lnTo>
                    <a:pt x="491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4249" y="1945"/>
              <a:ext cx="82" cy="40"/>
            </a:xfrm>
            <a:custGeom>
              <a:avLst/>
              <a:gdLst>
                <a:gd name="T0" fmla="*/ 385 w 385"/>
                <a:gd name="T1" fmla="*/ 0 h 188"/>
                <a:gd name="T2" fmla="*/ 385 w 385"/>
                <a:gd name="T3" fmla="*/ 0 h 188"/>
                <a:gd name="T4" fmla="*/ 337 w 385"/>
                <a:gd name="T5" fmla="*/ 24 h 188"/>
                <a:gd name="T6" fmla="*/ 289 w 385"/>
                <a:gd name="T7" fmla="*/ 47 h 188"/>
                <a:gd name="T8" fmla="*/ 289 w 385"/>
                <a:gd name="T9" fmla="*/ 47 h 188"/>
                <a:gd name="T10" fmla="*/ 241 w 385"/>
                <a:gd name="T11" fmla="*/ 70 h 188"/>
                <a:gd name="T12" fmla="*/ 193 w 385"/>
                <a:gd name="T13" fmla="*/ 94 h 188"/>
                <a:gd name="T14" fmla="*/ 193 w 385"/>
                <a:gd name="T15" fmla="*/ 94 h 188"/>
                <a:gd name="T16" fmla="*/ 145 w 385"/>
                <a:gd name="T17" fmla="*/ 117 h 188"/>
                <a:gd name="T18" fmla="*/ 97 w 385"/>
                <a:gd name="T19" fmla="*/ 140 h 188"/>
                <a:gd name="T20" fmla="*/ 97 w 385"/>
                <a:gd name="T21" fmla="*/ 140 h 188"/>
                <a:gd name="T22" fmla="*/ 49 w 385"/>
                <a:gd name="T23" fmla="*/ 164 h 188"/>
                <a:gd name="T24" fmla="*/ 2 w 385"/>
                <a:gd name="T25" fmla="*/ 187 h 188"/>
                <a:gd name="T26" fmla="*/ 2 w 385"/>
                <a:gd name="T27" fmla="*/ 187 h 188"/>
                <a:gd name="T28" fmla="*/ 0 w 385"/>
                <a:gd name="T2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5" h="188">
                  <a:moveTo>
                    <a:pt x="385" y="0"/>
                  </a:moveTo>
                  <a:lnTo>
                    <a:pt x="385" y="0"/>
                  </a:lnTo>
                  <a:lnTo>
                    <a:pt x="337" y="24"/>
                  </a:lnTo>
                  <a:moveTo>
                    <a:pt x="289" y="47"/>
                  </a:moveTo>
                  <a:lnTo>
                    <a:pt x="289" y="47"/>
                  </a:lnTo>
                  <a:lnTo>
                    <a:pt x="241" y="70"/>
                  </a:lnTo>
                  <a:moveTo>
                    <a:pt x="193" y="94"/>
                  </a:moveTo>
                  <a:lnTo>
                    <a:pt x="193" y="94"/>
                  </a:lnTo>
                  <a:lnTo>
                    <a:pt x="145" y="117"/>
                  </a:lnTo>
                  <a:moveTo>
                    <a:pt x="97" y="140"/>
                  </a:moveTo>
                  <a:lnTo>
                    <a:pt x="97" y="140"/>
                  </a:lnTo>
                  <a:lnTo>
                    <a:pt x="49" y="164"/>
                  </a:lnTo>
                  <a:moveTo>
                    <a:pt x="2" y="187"/>
                  </a:moveTo>
                  <a:lnTo>
                    <a:pt x="2" y="187"/>
                  </a:lnTo>
                  <a:lnTo>
                    <a:pt x="0" y="188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4280" y="1843"/>
              <a:ext cx="54" cy="87"/>
            </a:xfrm>
            <a:custGeom>
              <a:avLst/>
              <a:gdLst>
                <a:gd name="T0" fmla="*/ 249 w 249"/>
                <a:gd name="T1" fmla="*/ 411 h 411"/>
                <a:gd name="T2" fmla="*/ 249 w 249"/>
                <a:gd name="T3" fmla="*/ 411 h 411"/>
                <a:gd name="T4" fmla="*/ 221 w 249"/>
                <a:gd name="T5" fmla="*/ 365 h 411"/>
                <a:gd name="T6" fmla="*/ 194 w 249"/>
                <a:gd name="T7" fmla="*/ 319 h 411"/>
                <a:gd name="T8" fmla="*/ 194 w 249"/>
                <a:gd name="T9" fmla="*/ 319 h 411"/>
                <a:gd name="T10" fmla="*/ 166 w 249"/>
                <a:gd name="T11" fmla="*/ 274 h 411"/>
                <a:gd name="T12" fmla="*/ 138 w 249"/>
                <a:gd name="T13" fmla="*/ 228 h 411"/>
                <a:gd name="T14" fmla="*/ 138 w 249"/>
                <a:gd name="T15" fmla="*/ 228 h 411"/>
                <a:gd name="T16" fmla="*/ 111 w 249"/>
                <a:gd name="T17" fmla="*/ 183 h 411"/>
                <a:gd name="T18" fmla="*/ 83 w 249"/>
                <a:gd name="T19" fmla="*/ 137 h 411"/>
                <a:gd name="T20" fmla="*/ 83 w 249"/>
                <a:gd name="T21" fmla="*/ 137 h 411"/>
                <a:gd name="T22" fmla="*/ 55 w 249"/>
                <a:gd name="T23" fmla="*/ 91 h 411"/>
                <a:gd name="T24" fmla="*/ 28 w 249"/>
                <a:gd name="T25" fmla="*/ 46 h 411"/>
                <a:gd name="T26" fmla="*/ 28 w 249"/>
                <a:gd name="T27" fmla="*/ 46 h 411"/>
                <a:gd name="T28" fmla="*/ 0 w 249"/>
                <a:gd name="T29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9" h="411">
                  <a:moveTo>
                    <a:pt x="249" y="411"/>
                  </a:moveTo>
                  <a:lnTo>
                    <a:pt x="249" y="411"/>
                  </a:lnTo>
                  <a:lnTo>
                    <a:pt x="221" y="365"/>
                  </a:lnTo>
                  <a:moveTo>
                    <a:pt x="194" y="319"/>
                  </a:moveTo>
                  <a:lnTo>
                    <a:pt x="194" y="319"/>
                  </a:lnTo>
                  <a:lnTo>
                    <a:pt x="166" y="274"/>
                  </a:lnTo>
                  <a:moveTo>
                    <a:pt x="138" y="228"/>
                  </a:moveTo>
                  <a:lnTo>
                    <a:pt x="138" y="228"/>
                  </a:lnTo>
                  <a:lnTo>
                    <a:pt x="111" y="183"/>
                  </a:lnTo>
                  <a:moveTo>
                    <a:pt x="83" y="137"/>
                  </a:moveTo>
                  <a:lnTo>
                    <a:pt x="83" y="137"/>
                  </a:lnTo>
                  <a:lnTo>
                    <a:pt x="55" y="91"/>
                  </a:lnTo>
                  <a:moveTo>
                    <a:pt x="28" y="46"/>
                  </a:moveTo>
                  <a:lnTo>
                    <a:pt x="28" y="4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4343" y="1810"/>
              <a:ext cx="12" cy="117"/>
            </a:xfrm>
            <a:custGeom>
              <a:avLst/>
              <a:gdLst>
                <a:gd name="T0" fmla="*/ 0 w 60"/>
                <a:gd name="T1" fmla="*/ 546 h 546"/>
                <a:gd name="T2" fmla="*/ 0 w 60"/>
                <a:gd name="T3" fmla="*/ 546 h 546"/>
                <a:gd name="T4" fmla="*/ 6 w 60"/>
                <a:gd name="T5" fmla="*/ 493 h 546"/>
                <a:gd name="T6" fmla="*/ 12 w 60"/>
                <a:gd name="T7" fmla="*/ 440 h 546"/>
                <a:gd name="T8" fmla="*/ 12 w 60"/>
                <a:gd name="T9" fmla="*/ 440 h 546"/>
                <a:gd name="T10" fmla="*/ 18 w 60"/>
                <a:gd name="T11" fmla="*/ 387 h 546"/>
                <a:gd name="T12" fmla="*/ 23 w 60"/>
                <a:gd name="T13" fmla="*/ 334 h 546"/>
                <a:gd name="T14" fmla="*/ 23 w 60"/>
                <a:gd name="T15" fmla="*/ 334 h 546"/>
                <a:gd name="T16" fmla="*/ 29 w 60"/>
                <a:gd name="T17" fmla="*/ 281 h 546"/>
                <a:gd name="T18" fmla="*/ 35 w 60"/>
                <a:gd name="T19" fmla="*/ 228 h 546"/>
                <a:gd name="T20" fmla="*/ 35 w 60"/>
                <a:gd name="T21" fmla="*/ 228 h 546"/>
                <a:gd name="T22" fmla="*/ 41 w 60"/>
                <a:gd name="T23" fmla="*/ 175 h 546"/>
                <a:gd name="T24" fmla="*/ 47 w 60"/>
                <a:gd name="T25" fmla="*/ 122 h 546"/>
                <a:gd name="T26" fmla="*/ 47 w 60"/>
                <a:gd name="T27" fmla="*/ 122 h 546"/>
                <a:gd name="T28" fmla="*/ 53 w 60"/>
                <a:gd name="T29" fmla="*/ 69 h 546"/>
                <a:gd name="T30" fmla="*/ 58 w 60"/>
                <a:gd name="T31" fmla="*/ 16 h 546"/>
                <a:gd name="T32" fmla="*/ 58 w 60"/>
                <a:gd name="T33" fmla="*/ 16 h 546"/>
                <a:gd name="T34" fmla="*/ 60 w 60"/>
                <a:gd name="T35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546">
                  <a:moveTo>
                    <a:pt x="0" y="546"/>
                  </a:moveTo>
                  <a:lnTo>
                    <a:pt x="0" y="546"/>
                  </a:lnTo>
                  <a:lnTo>
                    <a:pt x="6" y="493"/>
                  </a:lnTo>
                  <a:moveTo>
                    <a:pt x="12" y="440"/>
                  </a:moveTo>
                  <a:lnTo>
                    <a:pt x="12" y="440"/>
                  </a:lnTo>
                  <a:lnTo>
                    <a:pt x="18" y="387"/>
                  </a:lnTo>
                  <a:moveTo>
                    <a:pt x="23" y="334"/>
                  </a:moveTo>
                  <a:lnTo>
                    <a:pt x="23" y="334"/>
                  </a:lnTo>
                  <a:lnTo>
                    <a:pt x="29" y="281"/>
                  </a:lnTo>
                  <a:moveTo>
                    <a:pt x="35" y="228"/>
                  </a:moveTo>
                  <a:lnTo>
                    <a:pt x="35" y="228"/>
                  </a:lnTo>
                  <a:lnTo>
                    <a:pt x="41" y="175"/>
                  </a:lnTo>
                  <a:moveTo>
                    <a:pt x="47" y="122"/>
                  </a:moveTo>
                  <a:lnTo>
                    <a:pt x="47" y="122"/>
                  </a:lnTo>
                  <a:lnTo>
                    <a:pt x="53" y="69"/>
                  </a:lnTo>
                  <a:moveTo>
                    <a:pt x="58" y="16"/>
                  </a:moveTo>
                  <a:lnTo>
                    <a:pt x="58" y="16"/>
                  </a:lnTo>
                  <a:lnTo>
                    <a:pt x="6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4318" y="1712"/>
              <a:ext cx="31" cy="74"/>
            </a:xfrm>
            <a:custGeom>
              <a:avLst/>
              <a:gdLst>
                <a:gd name="T0" fmla="*/ 143 w 143"/>
                <a:gd name="T1" fmla="*/ 345 h 345"/>
                <a:gd name="T2" fmla="*/ 143 w 143"/>
                <a:gd name="T3" fmla="*/ 345 h 345"/>
                <a:gd name="T4" fmla="*/ 123 w 143"/>
                <a:gd name="T5" fmla="*/ 295 h 345"/>
                <a:gd name="T6" fmla="*/ 102 w 143"/>
                <a:gd name="T7" fmla="*/ 246 h 345"/>
                <a:gd name="T8" fmla="*/ 102 w 143"/>
                <a:gd name="T9" fmla="*/ 246 h 345"/>
                <a:gd name="T10" fmla="*/ 82 w 143"/>
                <a:gd name="T11" fmla="*/ 197 h 345"/>
                <a:gd name="T12" fmla="*/ 61 w 143"/>
                <a:gd name="T13" fmla="*/ 148 h 345"/>
                <a:gd name="T14" fmla="*/ 61 w 143"/>
                <a:gd name="T15" fmla="*/ 148 h 345"/>
                <a:gd name="T16" fmla="*/ 41 w 143"/>
                <a:gd name="T17" fmla="*/ 98 h 345"/>
                <a:gd name="T18" fmla="*/ 20 w 143"/>
                <a:gd name="T19" fmla="*/ 49 h 345"/>
                <a:gd name="T20" fmla="*/ 20 w 143"/>
                <a:gd name="T21" fmla="*/ 49 h 345"/>
                <a:gd name="T22" fmla="*/ 0 w 143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345">
                  <a:moveTo>
                    <a:pt x="143" y="345"/>
                  </a:moveTo>
                  <a:lnTo>
                    <a:pt x="143" y="345"/>
                  </a:lnTo>
                  <a:lnTo>
                    <a:pt x="123" y="295"/>
                  </a:lnTo>
                  <a:moveTo>
                    <a:pt x="102" y="246"/>
                  </a:moveTo>
                  <a:lnTo>
                    <a:pt x="102" y="246"/>
                  </a:lnTo>
                  <a:lnTo>
                    <a:pt x="82" y="197"/>
                  </a:lnTo>
                  <a:moveTo>
                    <a:pt x="61" y="148"/>
                  </a:moveTo>
                  <a:lnTo>
                    <a:pt x="61" y="148"/>
                  </a:lnTo>
                  <a:lnTo>
                    <a:pt x="41" y="98"/>
                  </a:lnTo>
                  <a:moveTo>
                    <a:pt x="20" y="49"/>
                  </a:moveTo>
                  <a:lnTo>
                    <a:pt x="20" y="4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4191" y="1701"/>
              <a:ext cx="108" cy="62"/>
            </a:xfrm>
            <a:custGeom>
              <a:avLst/>
              <a:gdLst>
                <a:gd name="T0" fmla="*/ 510 w 510"/>
                <a:gd name="T1" fmla="*/ 0 h 290"/>
                <a:gd name="T2" fmla="*/ 510 w 510"/>
                <a:gd name="T3" fmla="*/ 0 h 290"/>
                <a:gd name="T4" fmla="*/ 463 w 510"/>
                <a:gd name="T5" fmla="*/ 26 h 290"/>
                <a:gd name="T6" fmla="*/ 417 w 510"/>
                <a:gd name="T7" fmla="*/ 52 h 290"/>
                <a:gd name="T8" fmla="*/ 417 w 510"/>
                <a:gd name="T9" fmla="*/ 52 h 290"/>
                <a:gd name="T10" fmla="*/ 371 w 510"/>
                <a:gd name="T11" fmla="*/ 79 h 290"/>
                <a:gd name="T12" fmla="*/ 324 w 510"/>
                <a:gd name="T13" fmla="*/ 105 h 290"/>
                <a:gd name="T14" fmla="*/ 324 w 510"/>
                <a:gd name="T15" fmla="*/ 105 h 290"/>
                <a:gd name="T16" fmla="*/ 278 w 510"/>
                <a:gd name="T17" fmla="*/ 131 h 290"/>
                <a:gd name="T18" fmla="*/ 232 w 510"/>
                <a:gd name="T19" fmla="*/ 158 h 290"/>
                <a:gd name="T20" fmla="*/ 232 w 510"/>
                <a:gd name="T21" fmla="*/ 158 h 290"/>
                <a:gd name="T22" fmla="*/ 185 w 510"/>
                <a:gd name="T23" fmla="*/ 184 h 290"/>
                <a:gd name="T24" fmla="*/ 139 w 510"/>
                <a:gd name="T25" fmla="*/ 210 h 290"/>
                <a:gd name="T26" fmla="*/ 139 w 510"/>
                <a:gd name="T27" fmla="*/ 210 h 290"/>
                <a:gd name="T28" fmla="*/ 92 w 510"/>
                <a:gd name="T29" fmla="*/ 237 h 290"/>
                <a:gd name="T30" fmla="*/ 46 w 510"/>
                <a:gd name="T31" fmla="*/ 263 h 290"/>
                <a:gd name="T32" fmla="*/ 46 w 510"/>
                <a:gd name="T33" fmla="*/ 263 h 290"/>
                <a:gd name="T34" fmla="*/ 0 w 510"/>
                <a:gd name="T35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290">
                  <a:moveTo>
                    <a:pt x="510" y="0"/>
                  </a:moveTo>
                  <a:lnTo>
                    <a:pt x="510" y="0"/>
                  </a:lnTo>
                  <a:lnTo>
                    <a:pt x="463" y="26"/>
                  </a:lnTo>
                  <a:moveTo>
                    <a:pt x="417" y="52"/>
                  </a:moveTo>
                  <a:lnTo>
                    <a:pt x="417" y="52"/>
                  </a:lnTo>
                  <a:lnTo>
                    <a:pt x="371" y="79"/>
                  </a:lnTo>
                  <a:moveTo>
                    <a:pt x="324" y="105"/>
                  </a:moveTo>
                  <a:lnTo>
                    <a:pt x="324" y="105"/>
                  </a:lnTo>
                  <a:lnTo>
                    <a:pt x="278" y="131"/>
                  </a:lnTo>
                  <a:moveTo>
                    <a:pt x="232" y="158"/>
                  </a:moveTo>
                  <a:lnTo>
                    <a:pt x="232" y="158"/>
                  </a:lnTo>
                  <a:lnTo>
                    <a:pt x="185" y="184"/>
                  </a:lnTo>
                  <a:moveTo>
                    <a:pt x="139" y="210"/>
                  </a:moveTo>
                  <a:lnTo>
                    <a:pt x="139" y="210"/>
                  </a:lnTo>
                  <a:lnTo>
                    <a:pt x="92" y="237"/>
                  </a:lnTo>
                  <a:moveTo>
                    <a:pt x="46" y="263"/>
                  </a:moveTo>
                  <a:lnTo>
                    <a:pt x="46" y="263"/>
                  </a:lnTo>
                  <a:lnTo>
                    <a:pt x="0" y="29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4281" y="1703"/>
              <a:ext cx="22" cy="117"/>
            </a:xfrm>
            <a:custGeom>
              <a:avLst/>
              <a:gdLst>
                <a:gd name="T0" fmla="*/ 103 w 103"/>
                <a:gd name="T1" fmla="*/ 0 h 549"/>
                <a:gd name="T2" fmla="*/ 103 w 103"/>
                <a:gd name="T3" fmla="*/ 0 h 549"/>
                <a:gd name="T4" fmla="*/ 93 w 103"/>
                <a:gd name="T5" fmla="*/ 53 h 549"/>
                <a:gd name="T6" fmla="*/ 83 w 103"/>
                <a:gd name="T7" fmla="*/ 105 h 549"/>
                <a:gd name="T8" fmla="*/ 83 w 103"/>
                <a:gd name="T9" fmla="*/ 105 h 549"/>
                <a:gd name="T10" fmla="*/ 73 w 103"/>
                <a:gd name="T11" fmla="*/ 158 h 549"/>
                <a:gd name="T12" fmla="*/ 64 w 103"/>
                <a:gd name="T13" fmla="*/ 210 h 549"/>
                <a:gd name="T14" fmla="*/ 64 w 103"/>
                <a:gd name="T15" fmla="*/ 210 h 549"/>
                <a:gd name="T16" fmla="*/ 54 w 103"/>
                <a:gd name="T17" fmla="*/ 263 h 549"/>
                <a:gd name="T18" fmla="*/ 44 w 103"/>
                <a:gd name="T19" fmla="*/ 315 h 549"/>
                <a:gd name="T20" fmla="*/ 44 w 103"/>
                <a:gd name="T21" fmla="*/ 315 h 549"/>
                <a:gd name="T22" fmla="*/ 34 w 103"/>
                <a:gd name="T23" fmla="*/ 367 h 549"/>
                <a:gd name="T24" fmla="*/ 24 w 103"/>
                <a:gd name="T25" fmla="*/ 420 h 549"/>
                <a:gd name="T26" fmla="*/ 24 w 103"/>
                <a:gd name="T27" fmla="*/ 420 h 549"/>
                <a:gd name="T28" fmla="*/ 15 w 103"/>
                <a:gd name="T29" fmla="*/ 472 h 549"/>
                <a:gd name="T30" fmla="*/ 5 w 103"/>
                <a:gd name="T31" fmla="*/ 525 h 549"/>
                <a:gd name="T32" fmla="*/ 5 w 103"/>
                <a:gd name="T33" fmla="*/ 525 h 549"/>
                <a:gd name="T34" fmla="*/ 0 w 103"/>
                <a:gd name="T35" fmla="*/ 54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549">
                  <a:moveTo>
                    <a:pt x="103" y="0"/>
                  </a:moveTo>
                  <a:lnTo>
                    <a:pt x="103" y="0"/>
                  </a:lnTo>
                  <a:lnTo>
                    <a:pt x="93" y="53"/>
                  </a:lnTo>
                  <a:moveTo>
                    <a:pt x="83" y="105"/>
                  </a:moveTo>
                  <a:lnTo>
                    <a:pt x="83" y="105"/>
                  </a:lnTo>
                  <a:lnTo>
                    <a:pt x="73" y="158"/>
                  </a:lnTo>
                  <a:moveTo>
                    <a:pt x="64" y="210"/>
                  </a:moveTo>
                  <a:lnTo>
                    <a:pt x="64" y="210"/>
                  </a:lnTo>
                  <a:lnTo>
                    <a:pt x="54" y="263"/>
                  </a:lnTo>
                  <a:moveTo>
                    <a:pt x="44" y="315"/>
                  </a:moveTo>
                  <a:lnTo>
                    <a:pt x="44" y="315"/>
                  </a:lnTo>
                  <a:lnTo>
                    <a:pt x="34" y="367"/>
                  </a:lnTo>
                  <a:moveTo>
                    <a:pt x="24" y="420"/>
                  </a:moveTo>
                  <a:lnTo>
                    <a:pt x="24" y="420"/>
                  </a:lnTo>
                  <a:lnTo>
                    <a:pt x="15" y="472"/>
                  </a:lnTo>
                  <a:moveTo>
                    <a:pt x="5" y="525"/>
                  </a:moveTo>
                  <a:lnTo>
                    <a:pt x="5" y="525"/>
                  </a:lnTo>
                  <a:lnTo>
                    <a:pt x="0" y="549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4292" y="1806"/>
              <a:ext cx="54" cy="18"/>
            </a:xfrm>
            <a:custGeom>
              <a:avLst/>
              <a:gdLst>
                <a:gd name="T0" fmla="*/ 253 w 253"/>
                <a:gd name="T1" fmla="*/ 0 h 84"/>
                <a:gd name="T2" fmla="*/ 253 w 253"/>
                <a:gd name="T3" fmla="*/ 0 h 84"/>
                <a:gd name="T4" fmla="*/ 202 w 253"/>
                <a:gd name="T5" fmla="*/ 17 h 84"/>
                <a:gd name="T6" fmla="*/ 151 w 253"/>
                <a:gd name="T7" fmla="*/ 33 h 84"/>
                <a:gd name="T8" fmla="*/ 151 w 253"/>
                <a:gd name="T9" fmla="*/ 33 h 84"/>
                <a:gd name="T10" fmla="*/ 101 w 253"/>
                <a:gd name="T11" fmla="*/ 50 h 84"/>
                <a:gd name="T12" fmla="*/ 50 w 253"/>
                <a:gd name="T13" fmla="*/ 67 h 84"/>
                <a:gd name="T14" fmla="*/ 50 w 253"/>
                <a:gd name="T15" fmla="*/ 67 h 84"/>
                <a:gd name="T16" fmla="*/ 0 w 253"/>
                <a:gd name="T1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84">
                  <a:moveTo>
                    <a:pt x="253" y="0"/>
                  </a:moveTo>
                  <a:lnTo>
                    <a:pt x="253" y="0"/>
                  </a:lnTo>
                  <a:lnTo>
                    <a:pt x="202" y="17"/>
                  </a:lnTo>
                  <a:moveTo>
                    <a:pt x="151" y="33"/>
                  </a:moveTo>
                  <a:lnTo>
                    <a:pt x="151" y="33"/>
                  </a:lnTo>
                  <a:lnTo>
                    <a:pt x="101" y="50"/>
                  </a:lnTo>
                  <a:moveTo>
                    <a:pt x="50" y="67"/>
                  </a:moveTo>
                  <a:lnTo>
                    <a:pt x="50" y="67"/>
                  </a:lnTo>
                  <a:lnTo>
                    <a:pt x="0" y="84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4309" y="1714"/>
              <a:ext cx="27" cy="214"/>
            </a:xfrm>
            <a:custGeom>
              <a:avLst/>
              <a:gdLst>
                <a:gd name="T0" fmla="*/ 125 w 125"/>
                <a:gd name="T1" fmla="*/ 1005 h 1005"/>
                <a:gd name="T2" fmla="*/ 125 w 125"/>
                <a:gd name="T3" fmla="*/ 1005 h 1005"/>
                <a:gd name="T4" fmla="*/ 119 w 125"/>
                <a:gd name="T5" fmla="*/ 952 h 1005"/>
                <a:gd name="T6" fmla="*/ 112 w 125"/>
                <a:gd name="T7" fmla="*/ 899 h 1005"/>
                <a:gd name="T8" fmla="*/ 112 w 125"/>
                <a:gd name="T9" fmla="*/ 899 h 1005"/>
                <a:gd name="T10" fmla="*/ 105 w 125"/>
                <a:gd name="T11" fmla="*/ 846 h 1005"/>
                <a:gd name="T12" fmla="*/ 99 w 125"/>
                <a:gd name="T13" fmla="*/ 794 h 1005"/>
                <a:gd name="T14" fmla="*/ 99 w 125"/>
                <a:gd name="T15" fmla="*/ 794 h 1005"/>
                <a:gd name="T16" fmla="*/ 92 w 125"/>
                <a:gd name="T17" fmla="*/ 741 h 1005"/>
                <a:gd name="T18" fmla="*/ 86 w 125"/>
                <a:gd name="T19" fmla="*/ 688 h 1005"/>
                <a:gd name="T20" fmla="*/ 86 w 125"/>
                <a:gd name="T21" fmla="*/ 688 h 1005"/>
                <a:gd name="T22" fmla="*/ 79 w 125"/>
                <a:gd name="T23" fmla="*/ 635 h 1005"/>
                <a:gd name="T24" fmla="*/ 73 w 125"/>
                <a:gd name="T25" fmla="*/ 582 h 1005"/>
                <a:gd name="T26" fmla="*/ 73 w 125"/>
                <a:gd name="T27" fmla="*/ 582 h 1005"/>
                <a:gd name="T28" fmla="*/ 66 w 125"/>
                <a:gd name="T29" fmla="*/ 529 h 1005"/>
                <a:gd name="T30" fmla="*/ 59 w 125"/>
                <a:gd name="T31" fmla="*/ 476 h 1005"/>
                <a:gd name="T32" fmla="*/ 59 w 125"/>
                <a:gd name="T33" fmla="*/ 476 h 1005"/>
                <a:gd name="T34" fmla="*/ 53 w 125"/>
                <a:gd name="T35" fmla="*/ 423 h 1005"/>
                <a:gd name="T36" fmla="*/ 46 w 125"/>
                <a:gd name="T37" fmla="*/ 370 h 1005"/>
                <a:gd name="T38" fmla="*/ 46 w 125"/>
                <a:gd name="T39" fmla="*/ 370 h 1005"/>
                <a:gd name="T40" fmla="*/ 40 w 125"/>
                <a:gd name="T41" fmla="*/ 317 h 1005"/>
                <a:gd name="T42" fmla="*/ 33 w 125"/>
                <a:gd name="T43" fmla="*/ 264 h 1005"/>
                <a:gd name="T44" fmla="*/ 33 w 125"/>
                <a:gd name="T45" fmla="*/ 264 h 1005"/>
                <a:gd name="T46" fmla="*/ 27 w 125"/>
                <a:gd name="T47" fmla="*/ 211 h 1005"/>
                <a:gd name="T48" fmla="*/ 20 w 125"/>
                <a:gd name="T49" fmla="*/ 158 h 1005"/>
                <a:gd name="T50" fmla="*/ 20 w 125"/>
                <a:gd name="T51" fmla="*/ 158 h 1005"/>
                <a:gd name="T52" fmla="*/ 14 w 125"/>
                <a:gd name="T53" fmla="*/ 105 h 1005"/>
                <a:gd name="T54" fmla="*/ 7 w 125"/>
                <a:gd name="T55" fmla="*/ 53 h 1005"/>
                <a:gd name="T56" fmla="*/ 7 w 125"/>
                <a:gd name="T57" fmla="*/ 53 h 1005"/>
                <a:gd name="T58" fmla="*/ 0 w 125"/>
                <a:gd name="T59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" h="1005">
                  <a:moveTo>
                    <a:pt x="125" y="1005"/>
                  </a:moveTo>
                  <a:lnTo>
                    <a:pt x="125" y="1005"/>
                  </a:lnTo>
                  <a:lnTo>
                    <a:pt x="119" y="952"/>
                  </a:lnTo>
                  <a:moveTo>
                    <a:pt x="112" y="899"/>
                  </a:moveTo>
                  <a:lnTo>
                    <a:pt x="112" y="899"/>
                  </a:lnTo>
                  <a:lnTo>
                    <a:pt x="105" y="846"/>
                  </a:lnTo>
                  <a:moveTo>
                    <a:pt x="99" y="794"/>
                  </a:moveTo>
                  <a:lnTo>
                    <a:pt x="99" y="794"/>
                  </a:lnTo>
                  <a:lnTo>
                    <a:pt x="92" y="741"/>
                  </a:lnTo>
                  <a:moveTo>
                    <a:pt x="86" y="688"/>
                  </a:moveTo>
                  <a:lnTo>
                    <a:pt x="86" y="688"/>
                  </a:lnTo>
                  <a:lnTo>
                    <a:pt x="79" y="635"/>
                  </a:lnTo>
                  <a:moveTo>
                    <a:pt x="73" y="582"/>
                  </a:moveTo>
                  <a:lnTo>
                    <a:pt x="73" y="582"/>
                  </a:lnTo>
                  <a:lnTo>
                    <a:pt x="66" y="529"/>
                  </a:lnTo>
                  <a:moveTo>
                    <a:pt x="59" y="476"/>
                  </a:moveTo>
                  <a:lnTo>
                    <a:pt x="59" y="476"/>
                  </a:lnTo>
                  <a:lnTo>
                    <a:pt x="53" y="423"/>
                  </a:lnTo>
                  <a:moveTo>
                    <a:pt x="46" y="370"/>
                  </a:moveTo>
                  <a:lnTo>
                    <a:pt x="46" y="370"/>
                  </a:lnTo>
                  <a:lnTo>
                    <a:pt x="40" y="317"/>
                  </a:lnTo>
                  <a:moveTo>
                    <a:pt x="33" y="264"/>
                  </a:moveTo>
                  <a:lnTo>
                    <a:pt x="33" y="264"/>
                  </a:lnTo>
                  <a:lnTo>
                    <a:pt x="27" y="211"/>
                  </a:lnTo>
                  <a:moveTo>
                    <a:pt x="20" y="158"/>
                  </a:moveTo>
                  <a:lnTo>
                    <a:pt x="20" y="158"/>
                  </a:lnTo>
                  <a:lnTo>
                    <a:pt x="14" y="105"/>
                  </a:lnTo>
                  <a:moveTo>
                    <a:pt x="7" y="53"/>
                  </a:moveTo>
                  <a:lnTo>
                    <a:pt x="7" y="5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4237" y="1844"/>
              <a:ext cx="37" cy="134"/>
            </a:xfrm>
            <a:custGeom>
              <a:avLst/>
              <a:gdLst>
                <a:gd name="T0" fmla="*/ 173 w 173"/>
                <a:gd name="T1" fmla="*/ 0 h 626"/>
                <a:gd name="T2" fmla="*/ 173 w 173"/>
                <a:gd name="T3" fmla="*/ 0 h 626"/>
                <a:gd name="T4" fmla="*/ 159 w 173"/>
                <a:gd name="T5" fmla="*/ 51 h 626"/>
                <a:gd name="T6" fmla="*/ 145 w 173"/>
                <a:gd name="T7" fmla="*/ 102 h 626"/>
                <a:gd name="T8" fmla="*/ 145 w 173"/>
                <a:gd name="T9" fmla="*/ 102 h 626"/>
                <a:gd name="T10" fmla="*/ 131 w 173"/>
                <a:gd name="T11" fmla="*/ 154 h 626"/>
                <a:gd name="T12" fmla="*/ 116 w 173"/>
                <a:gd name="T13" fmla="*/ 205 h 626"/>
                <a:gd name="T14" fmla="*/ 116 w 173"/>
                <a:gd name="T15" fmla="*/ 205 h 626"/>
                <a:gd name="T16" fmla="*/ 102 w 173"/>
                <a:gd name="T17" fmla="*/ 257 h 626"/>
                <a:gd name="T18" fmla="*/ 88 w 173"/>
                <a:gd name="T19" fmla="*/ 308 h 626"/>
                <a:gd name="T20" fmla="*/ 88 w 173"/>
                <a:gd name="T21" fmla="*/ 308 h 626"/>
                <a:gd name="T22" fmla="*/ 74 w 173"/>
                <a:gd name="T23" fmla="*/ 359 h 626"/>
                <a:gd name="T24" fmla="*/ 59 w 173"/>
                <a:gd name="T25" fmla="*/ 411 h 626"/>
                <a:gd name="T26" fmla="*/ 59 w 173"/>
                <a:gd name="T27" fmla="*/ 411 h 626"/>
                <a:gd name="T28" fmla="*/ 45 w 173"/>
                <a:gd name="T29" fmla="*/ 462 h 626"/>
                <a:gd name="T30" fmla="*/ 31 w 173"/>
                <a:gd name="T31" fmla="*/ 514 h 626"/>
                <a:gd name="T32" fmla="*/ 31 w 173"/>
                <a:gd name="T33" fmla="*/ 514 h 626"/>
                <a:gd name="T34" fmla="*/ 17 w 173"/>
                <a:gd name="T35" fmla="*/ 565 h 626"/>
                <a:gd name="T36" fmla="*/ 3 w 173"/>
                <a:gd name="T37" fmla="*/ 616 h 626"/>
                <a:gd name="T38" fmla="*/ 3 w 173"/>
                <a:gd name="T39" fmla="*/ 616 h 626"/>
                <a:gd name="T40" fmla="*/ 0 w 173"/>
                <a:gd name="T41" fmla="*/ 62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3" h="626">
                  <a:moveTo>
                    <a:pt x="173" y="0"/>
                  </a:moveTo>
                  <a:lnTo>
                    <a:pt x="173" y="0"/>
                  </a:lnTo>
                  <a:lnTo>
                    <a:pt x="159" y="51"/>
                  </a:lnTo>
                  <a:moveTo>
                    <a:pt x="145" y="102"/>
                  </a:moveTo>
                  <a:lnTo>
                    <a:pt x="145" y="102"/>
                  </a:lnTo>
                  <a:lnTo>
                    <a:pt x="131" y="154"/>
                  </a:lnTo>
                  <a:moveTo>
                    <a:pt x="116" y="205"/>
                  </a:moveTo>
                  <a:lnTo>
                    <a:pt x="116" y="205"/>
                  </a:lnTo>
                  <a:lnTo>
                    <a:pt x="102" y="257"/>
                  </a:lnTo>
                  <a:moveTo>
                    <a:pt x="88" y="308"/>
                  </a:moveTo>
                  <a:lnTo>
                    <a:pt x="88" y="308"/>
                  </a:lnTo>
                  <a:lnTo>
                    <a:pt x="74" y="359"/>
                  </a:lnTo>
                  <a:moveTo>
                    <a:pt x="59" y="411"/>
                  </a:moveTo>
                  <a:lnTo>
                    <a:pt x="59" y="411"/>
                  </a:lnTo>
                  <a:lnTo>
                    <a:pt x="45" y="462"/>
                  </a:lnTo>
                  <a:moveTo>
                    <a:pt x="31" y="514"/>
                  </a:moveTo>
                  <a:lnTo>
                    <a:pt x="31" y="514"/>
                  </a:lnTo>
                  <a:lnTo>
                    <a:pt x="17" y="565"/>
                  </a:lnTo>
                  <a:moveTo>
                    <a:pt x="3" y="616"/>
                  </a:moveTo>
                  <a:lnTo>
                    <a:pt x="3" y="616"/>
                  </a:lnTo>
                  <a:lnTo>
                    <a:pt x="0" y="626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4155" y="1837"/>
              <a:ext cx="108" cy="49"/>
            </a:xfrm>
            <a:custGeom>
              <a:avLst/>
              <a:gdLst>
                <a:gd name="T0" fmla="*/ 505 w 505"/>
                <a:gd name="T1" fmla="*/ 0 h 227"/>
                <a:gd name="T2" fmla="*/ 505 w 505"/>
                <a:gd name="T3" fmla="*/ 0 h 227"/>
                <a:gd name="T4" fmla="*/ 456 w 505"/>
                <a:gd name="T5" fmla="*/ 21 h 227"/>
                <a:gd name="T6" fmla="*/ 408 w 505"/>
                <a:gd name="T7" fmla="*/ 43 h 227"/>
                <a:gd name="T8" fmla="*/ 408 w 505"/>
                <a:gd name="T9" fmla="*/ 43 h 227"/>
                <a:gd name="T10" fmla="*/ 359 w 505"/>
                <a:gd name="T11" fmla="*/ 65 h 227"/>
                <a:gd name="T12" fmla="*/ 311 w 505"/>
                <a:gd name="T13" fmla="*/ 87 h 227"/>
                <a:gd name="T14" fmla="*/ 311 w 505"/>
                <a:gd name="T15" fmla="*/ 87 h 227"/>
                <a:gd name="T16" fmla="*/ 262 w 505"/>
                <a:gd name="T17" fmla="*/ 109 h 227"/>
                <a:gd name="T18" fmla="*/ 213 w 505"/>
                <a:gd name="T19" fmla="*/ 131 h 227"/>
                <a:gd name="T20" fmla="*/ 213 w 505"/>
                <a:gd name="T21" fmla="*/ 131 h 227"/>
                <a:gd name="T22" fmla="*/ 165 w 505"/>
                <a:gd name="T23" fmla="*/ 153 h 227"/>
                <a:gd name="T24" fmla="*/ 116 w 505"/>
                <a:gd name="T25" fmla="*/ 175 h 227"/>
                <a:gd name="T26" fmla="*/ 116 w 505"/>
                <a:gd name="T27" fmla="*/ 175 h 227"/>
                <a:gd name="T28" fmla="*/ 67 w 505"/>
                <a:gd name="T29" fmla="*/ 197 h 227"/>
                <a:gd name="T30" fmla="*/ 19 w 505"/>
                <a:gd name="T31" fmla="*/ 219 h 227"/>
                <a:gd name="T32" fmla="*/ 19 w 505"/>
                <a:gd name="T33" fmla="*/ 219 h 227"/>
                <a:gd name="T34" fmla="*/ 0 w 505"/>
                <a:gd name="T3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5" h="227">
                  <a:moveTo>
                    <a:pt x="505" y="0"/>
                  </a:moveTo>
                  <a:lnTo>
                    <a:pt x="505" y="0"/>
                  </a:lnTo>
                  <a:lnTo>
                    <a:pt x="456" y="21"/>
                  </a:lnTo>
                  <a:moveTo>
                    <a:pt x="408" y="43"/>
                  </a:moveTo>
                  <a:lnTo>
                    <a:pt x="408" y="43"/>
                  </a:lnTo>
                  <a:lnTo>
                    <a:pt x="359" y="65"/>
                  </a:lnTo>
                  <a:moveTo>
                    <a:pt x="311" y="87"/>
                  </a:moveTo>
                  <a:lnTo>
                    <a:pt x="311" y="87"/>
                  </a:lnTo>
                  <a:lnTo>
                    <a:pt x="262" y="109"/>
                  </a:lnTo>
                  <a:moveTo>
                    <a:pt x="213" y="131"/>
                  </a:moveTo>
                  <a:lnTo>
                    <a:pt x="213" y="131"/>
                  </a:lnTo>
                  <a:lnTo>
                    <a:pt x="165" y="153"/>
                  </a:lnTo>
                  <a:moveTo>
                    <a:pt x="116" y="175"/>
                  </a:moveTo>
                  <a:lnTo>
                    <a:pt x="116" y="175"/>
                  </a:lnTo>
                  <a:lnTo>
                    <a:pt x="67" y="197"/>
                  </a:lnTo>
                  <a:moveTo>
                    <a:pt x="19" y="219"/>
                  </a:moveTo>
                  <a:lnTo>
                    <a:pt x="19" y="219"/>
                  </a:lnTo>
                  <a:lnTo>
                    <a:pt x="0" y="227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4195" y="1783"/>
              <a:ext cx="68" cy="43"/>
            </a:xfrm>
            <a:custGeom>
              <a:avLst/>
              <a:gdLst>
                <a:gd name="T0" fmla="*/ 316 w 316"/>
                <a:gd name="T1" fmla="*/ 199 h 199"/>
                <a:gd name="T2" fmla="*/ 316 w 316"/>
                <a:gd name="T3" fmla="*/ 199 h 199"/>
                <a:gd name="T4" fmla="*/ 271 w 316"/>
                <a:gd name="T5" fmla="*/ 171 h 199"/>
                <a:gd name="T6" fmla="*/ 226 w 316"/>
                <a:gd name="T7" fmla="*/ 142 h 199"/>
                <a:gd name="T8" fmla="*/ 226 w 316"/>
                <a:gd name="T9" fmla="*/ 142 h 199"/>
                <a:gd name="T10" fmla="*/ 181 w 316"/>
                <a:gd name="T11" fmla="*/ 114 h 199"/>
                <a:gd name="T12" fmla="*/ 135 w 316"/>
                <a:gd name="T13" fmla="*/ 85 h 199"/>
                <a:gd name="T14" fmla="*/ 135 w 316"/>
                <a:gd name="T15" fmla="*/ 85 h 199"/>
                <a:gd name="T16" fmla="*/ 90 w 316"/>
                <a:gd name="T17" fmla="*/ 57 h 199"/>
                <a:gd name="T18" fmla="*/ 45 w 316"/>
                <a:gd name="T19" fmla="*/ 28 h 199"/>
                <a:gd name="T20" fmla="*/ 45 w 316"/>
                <a:gd name="T21" fmla="*/ 28 h 199"/>
                <a:gd name="T22" fmla="*/ 0 w 316"/>
                <a:gd name="T2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6" h="199">
                  <a:moveTo>
                    <a:pt x="316" y="199"/>
                  </a:moveTo>
                  <a:lnTo>
                    <a:pt x="316" y="199"/>
                  </a:lnTo>
                  <a:lnTo>
                    <a:pt x="271" y="171"/>
                  </a:lnTo>
                  <a:moveTo>
                    <a:pt x="226" y="142"/>
                  </a:moveTo>
                  <a:lnTo>
                    <a:pt x="226" y="142"/>
                  </a:lnTo>
                  <a:lnTo>
                    <a:pt x="181" y="114"/>
                  </a:lnTo>
                  <a:moveTo>
                    <a:pt x="135" y="85"/>
                  </a:moveTo>
                  <a:lnTo>
                    <a:pt x="135" y="85"/>
                  </a:lnTo>
                  <a:lnTo>
                    <a:pt x="90" y="57"/>
                  </a:lnTo>
                  <a:moveTo>
                    <a:pt x="45" y="28"/>
                  </a:moveTo>
                  <a:lnTo>
                    <a:pt x="45" y="28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4183" y="1780"/>
              <a:ext cx="45" cy="202"/>
            </a:xfrm>
            <a:custGeom>
              <a:avLst/>
              <a:gdLst>
                <a:gd name="T0" fmla="*/ 209 w 209"/>
                <a:gd name="T1" fmla="*/ 945 h 945"/>
                <a:gd name="T2" fmla="*/ 209 w 209"/>
                <a:gd name="T3" fmla="*/ 945 h 945"/>
                <a:gd name="T4" fmla="*/ 198 w 209"/>
                <a:gd name="T5" fmla="*/ 893 h 945"/>
                <a:gd name="T6" fmla="*/ 186 w 209"/>
                <a:gd name="T7" fmla="*/ 841 h 945"/>
                <a:gd name="T8" fmla="*/ 186 w 209"/>
                <a:gd name="T9" fmla="*/ 841 h 945"/>
                <a:gd name="T10" fmla="*/ 175 w 209"/>
                <a:gd name="T11" fmla="*/ 789 h 945"/>
                <a:gd name="T12" fmla="*/ 163 w 209"/>
                <a:gd name="T13" fmla="*/ 736 h 945"/>
                <a:gd name="T14" fmla="*/ 163 w 209"/>
                <a:gd name="T15" fmla="*/ 736 h 945"/>
                <a:gd name="T16" fmla="*/ 152 w 209"/>
                <a:gd name="T17" fmla="*/ 684 h 945"/>
                <a:gd name="T18" fmla="*/ 140 w 209"/>
                <a:gd name="T19" fmla="*/ 632 h 945"/>
                <a:gd name="T20" fmla="*/ 140 w 209"/>
                <a:gd name="T21" fmla="*/ 632 h 945"/>
                <a:gd name="T22" fmla="*/ 129 w 209"/>
                <a:gd name="T23" fmla="*/ 580 h 945"/>
                <a:gd name="T24" fmla="*/ 117 w 209"/>
                <a:gd name="T25" fmla="*/ 528 h 945"/>
                <a:gd name="T26" fmla="*/ 117 w 209"/>
                <a:gd name="T27" fmla="*/ 528 h 945"/>
                <a:gd name="T28" fmla="*/ 106 w 209"/>
                <a:gd name="T29" fmla="*/ 476 h 945"/>
                <a:gd name="T30" fmla="*/ 94 w 209"/>
                <a:gd name="T31" fmla="*/ 424 h 945"/>
                <a:gd name="T32" fmla="*/ 94 w 209"/>
                <a:gd name="T33" fmla="*/ 424 h 945"/>
                <a:gd name="T34" fmla="*/ 83 w 209"/>
                <a:gd name="T35" fmla="*/ 372 h 945"/>
                <a:gd name="T36" fmla="*/ 71 w 209"/>
                <a:gd name="T37" fmla="*/ 320 h 945"/>
                <a:gd name="T38" fmla="*/ 71 w 209"/>
                <a:gd name="T39" fmla="*/ 320 h 945"/>
                <a:gd name="T40" fmla="*/ 60 w 209"/>
                <a:gd name="T41" fmla="*/ 268 h 945"/>
                <a:gd name="T42" fmla="*/ 48 w 209"/>
                <a:gd name="T43" fmla="*/ 216 h 945"/>
                <a:gd name="T44" fmla="*/ 48 w 209"/>
                <a:gd name="T45" fmla="*/ 216 h 945"/>
                <a:gd name="T46" fmla="*/ 37 w 209"/>
                <a:gd name="T47" fmla="*/ 164 h 945"/>
                <a:gd name="T48" fmla="*/ 25 w 209"/>
                <a:gd name="T49" fmla="*/ 112 h 945"/>
                <a:gd name="T50" fmla="*/ 25 w 209"/>
                <a:gd name="T51" fmla="*/ 112 h 945"/>
                <a:gd name="T52" fmla="*/ 14 w 209"/>
                <a:gd name="T53" fmla="*/ 59 h 945"/>
                <a:gd name="T54" fmla="*/ 2 w 209"/>
                <a:gd name="T55" fmla="*/ 7 h 945"/>
                <a:gd name="T56" fmla="*/ 2 w 209"/>
                <a:gd name="T57" fmla="*/ 7 h 945"/>
                <a:gd name="T58" fmla="*/ 0 w 209"/>
                <a:gd name="T5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9" h="945">
                  <a:moveTo>
                    <a:pt x="209" y="945"/>
                  </a:moveTo>
                  <a:lnTo>
                    <a:pt x="209" y="945"/>
                  </a:lnTo>
                  <a:lnTo>
                    <a:pt x="198" y="893"/>
                  </a:lnTo>
                  <a:moveTo>
                    <a:pt x="186" y="841"/>
                  </a:moveTo>
                  <a:lnTo>
                    <a:pt x="186" y="841"/>
                  </a:lnTo>
                  <a:lnTo>
                    <a:pt x="175" y="789"/>
                  </a:lnTo>
                  <a:moveTo>
                    <a:pt x="163" y="736"/>
                  </a:moveTo>
                  <a:lnTo>
                    <a:pt x="163" y="736"/>
                  </a:lnTo>
                  <a:lnTo>
                    <a:pt x="152" y="684"/>
                  </a:lnTo>
                  <a:moveTo>
                    <a:pt x="140" y="632"/>
                  </a:moveTo>
                  <a:lnTo>
                    <a:pt x="140" y="632"/>
                  </a:lnTo>
                  <a:lnTo>
                    <a:pt x="129" y="580"/>
                  </a:lnTo>
                  <a:moveTo>
                    <a:pt x="117" y="528"/>
                  </a:moveTo>
                  <a:lnTo>
                    <a:pt x="117" y="528"/>
                  </a:lnTo>
                  <a:lnTo>
                    <a:pt x="106" y="476"/>
                  </a:lnTo>
                  <a:moveTo>
                    <a:pt x="94" y="424"/>
                  </a:moveTo>
                  <a:lnTo>
                    <a:pt x="94" y="424"/>
                  </a:lnTo>
                  <a:lnTo>
                    <a:pt x="83" y="372"/>
                  </a:lnTo>
                  <a:moveTo>
                    <a:pt x="71" y="320"/>
                  </a:moveTo>
                  <a:lnTo>
                    <a:pt x="71" y="320"/>
                  </a:lnTo>
                  <a:lnTo>
                    <a:pt x="60" y="268"/>
                  </a:lnTo>
                  <a:moveTo>
                    <a:pt x="48" y="216"/>
                  </a:moveTo>
                  <a:lnTo>
                    <a:pt x="48" y="216"/>
                  </a:lnTo>
                  <a:lnTo>
                    <a:pt x="37" y="164"/>
                  </a:lnTo>
                  <a:moveTo>
                    <a:pt x="25" y="112"/>
                  </a:moveTo>
                  <a:lnTo>
                    <a:pt x="25" y="112"/>
                  </a:lnTo>
                  <a:lnTo>
                    <a:pt x="14" y="59"/>
                  </a:lnTo>
                  <a:moveTo>
                    <a:pt x="2" y="7"/>
                  </a:move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4143" y="1780"/>
              <a:ext cx="28" cy="98"/>
            </a:xfrm>
            <a:custGeom>
              <a:avLst/>
              <a:gdLst>
                <a:gd name="T0" fmla="*/ 0 w 132"/>
                <a:gd name="T1" fmla="*/ 461 h 461"/>
                <a:gd name="T2" fmla="*/ 0 w 132"/>
                <a:gd name="T3" fmla="*/ 461 h 461"/>
                <a:gd name="T4" fmla="*/ 15 w 132"/>
                <a:gd name="T5" fmla="*/ 409 h 461"/>
                <a:gd name="T6" fmla="*/ 29 w 132"/>
                <a:gd name="T7" fmla="*/ 358 h 461"/>
                <a:gd name="T8" fmla="*/ 29 w 132"/>
                <a:gd name="T9" fmla="*/ 358 h 461"/>
                <a:gd name="T10" fmla="*/ 44 w 132"/>
                <a:gd name="T11" fmla="*/ 307 h 461"/>
                <a:gd name="T12" fmla="*/ 59 w 132"/>
                <a:gd name="T13" fmla="*/ 255 h 461"/>
                <a:gd name="T14" fmla="*/ 59 w 132"/>
                <a:gd name="T15" fmla="*/ 255 h 461"/>
                <a:gd name="T16" fmla="*/ 74 w 132"/>
                <a:gd name="T17" fmla="*/ 204 h 461"/>
                <a:gd name="T18" fmla="*/ 88 w 132"/>
                <a:gd name="T19" fmla="*/ 153 h 461"/>
                <a:gd name="T20" fmla="*/ 88 w 132"/>
                <a:gd name="T21" fmla="*/ 153 h 461"/>
                <a:gd name="T22" fmla="*/ 103 w 132"/>
                <a:gd name="T23" fmla="*/ 102 h 461"/>
                <a:gd name="T24" fmla="*/ 118 w 132"/>
                <a:gd name="T25" fmla="*/ 50 h 461"/>
                <a:gd name="T26" fmla="*/ 118 w 132"/>
                <a:gd name="T27" fmla="*/ 50 h 461"/>
                <a:gd name="T28" fmla="*/ 132 w 132"/>
                <a:gd name="T29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461">
                  <a:moveTo>
                    <a:pt x="0" y="461"/>
                  </a:moveTo>
                  <a:lnTo>
                    <a:pt x="0" y="461"/>
                  </a:lnTo>
                  <a:lnTo>
                    <a:pt x="15" y="409"/>
                  </a:lnTo>
                  <a:moveTo>
                    <a:pt x="29" y="358"/>
                  </a:moveTo>
                  <a:lnTo>
                    <a:pt x="29" y="358"/>
                  </a:lnTo>
                  <a:lnTo>
                    <a:pt x="44" y="307"/>
                  </a:lnTo>
                  <a:moveTo>
                    <a:pt x="59" y="255"/>
                  </a:moveTo>
                  <a:lnTo>
                    <a:pt x="59" y="255"/>
                  </a:lnTo>
                  <a:lnTo>
                    <a:pt x="74" y="204"/>
                  </a:lnTo>
                  <a:moveTo>
                    <a:pt x="88" y="153"/>
                  </a:moveTo>
                  <a:lnTo>
                    <a:pt x="88" y="153"/>
                  </a:lnTo>
                  <a:lnTo>
                    <a:pt x="103" y="102"/>
                  </a:lnTo>
                  <a:moveTo>
                    <a:pt x="118" y="50"/>
                  </a:moveTo>
                  <a:lnTo>
                    <a:pt x="118" y="50"/>
                  </a:lnTo>
                  <a:lnTo>
                    <a:pt x="132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4046" y="1817"/>
              <a:ext cx="215" cy="14"/>
            </a:xfrm>
            <a:custGeom>
              <a:avLst/>
              <a:gdLst>
                <a:gd name="T0" fmla="*/ 1007 w 1007"/>
                <a:gd name="T1" fmla="*/ 65 h 65"/>
                <a:gd name="T2" fmla="*/ 1007 w 1007"/>
                <a:gd name="T3" fmla="*/ 65 h 65"/>
                <a:gd name="T4" fmla="*/ 954 w 1007"/>
                <a:gd name="T5" fmla="*/ 61 h 65"/>
                <a:gd name="T6" fmla="*/ 901 w 1007"/>
                <a:gd name="T7" fmla="*/ 58 h 65"/>
                <a:gd name="T8" fmla="*/ 901 w 1007"/>
                <a:gd name="T9" fmla="*/ 58 h 65"/>
                <a:gd name="T10" fmla="*/ 847 w 1007"/>
                <a:gd name="T11" fmla="*/ 54 h 65"/>
                <a:gd name="T12" fmla="*/ 794 w 1007"/>
                <a:gd name="T13" fmla="*/ 51 h 65"/>
                <a:gd name="T14" fmla="*/ 794 w 1007"/>
                <a:gd name="T15" fmla="*/ 51 h 65"/>
                <a:gd name="T16" fmla="*/ 741 w 1007"/>
                <a:gd name="T17" fmla="*/ 48 h 65"/>
                <a:gd name="T18" fmla="*/ 688 w 1007"/>
                <a:gd name="T19" fmla="*/ 44 h 65"/>
                <a:gd name="T20" fmla="*/ 688 w 1007"/>
                <a:gd name="T21" fmla="*/ 44 h 65"/>
                <a:gd name="T22" fmla="*/ 635 w 1007"/>
                <a:gd name="T23" fmla="*/ 41 h 65"/>
                <a:gd name="T24" fmla="*/ 581 w 1007"/>
                <a:gd name="T25" fmla="*/ 37 h 65"/>
                <a:gd name="T26" fmla="*/ 581 w 1007"/>
                <a:gd name="T27" fmla="*/ 37 h 65"/>
                <a:gd name="T28" fmla="*/ 528 w 1007"/>
                <a:gd name="T29" fmla="*/ 34 h 65"/>
                <a:gd name="T30" fmla="*/ 475 w 1007"/>
                <a:gd name="T31" fmla="*/ 31 h 65"/>
                <a:gd name="T32" fmla="*/ 475 w 1007"/>
                <a:gd name="T33" fmla="*/ 31 h 65"/>
                <a:gd name="T34" fmla="*/ 422 w 1007"/>
                <a:gd name="T35" fmla="*/ 27 h 65"/>
                <a:gd name="T36" fmla="*/ 368 w 1007"/>
                <a:gd name="T37" fmla="*/ 24 h 65"/>
                <a:gd name="T38" fmla="*/ 368 w 1007"/>
                <a:gd name="T39" fmla="*/ 24 h 65"/>
                <a:gd name="T40" fmla="*/ 315 w 1007"/>
                <a:gd name="T41" fmla="*/ 20 h 65"/>
                <a:gd name="T42" fmla="*/ 262 w 1007"/>
                <a:gd name="T43" fmla="*/ 17 h 65"/>
                <a:gd name="T44" fmla="*/ 262 w 1007"/>
                <a:gd name="T45" fmla="*/ 17 h 65"/>
                <a:gd name="T46" fmla="*/ 209 w 1007"/>
                <a:gd name="T47" fmla="*/ 14 h 65"/>
                <a:gd name="T48" fmla="*/ 156 w 1007"/>
                <a:gd name="T49" fmla="*/ 10 h 65"/>
                <a:gd name="T50" fmla="*/ 156 w 1007"/>
                <a:gd name="T51" fmla="*/ 10 h 65"/>
                <a:gd name="T52" fmla="*/ 102 w 1007"/>
                <a:gd name="T53" fmla="*/ 7 h 65"/>
                <a:gd name="T54" fmla="*/ 49 w 1007"/>
                <a:gd name="T55" fmla="*/ 3 h 65"/>
                <a:gd name="T56" fmla="*/ 49 w 1007"/>
                <a:gd name="T57" fmla="*/ 3 h 65"/>
                <a:gd name="T58" fmla="*/ 0 w 1007"/>
                <a:gd name="T5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7" h="65">
                  <a:moveTo>
                    <a:pt x="1007" y="65"/>
                  </a:moveTo>
                  <a:lnTo>
                    <a:pt x="1007" y="65"/>
                  </a:lnTo>
                  <a:lnTo>
                    <a:pt x="954" y="61"/>
                  </a:lnTo>
                  <a:moveTo>
                    <a:pt x="901" y="58"/>
                  </a:moveTo>
                  <a:lnTo>
                    <a:pt x="901" y="58"/>
                  </a:lnTo>
                  <a:lnTo>
                    <a:pt x="847" y="54"/>
                  </a:lnTo>
                  <a:moveTo>
                    <a:pt x="794" y="51"/>
                  </a:moveTo>
                  <a:lnTo>
                    <a:pt x="794" y="51"/>
                  </a:lnTo>
                  <a:lnTo>
                    <a:pt x="741" y="48"/>
                  </a:lnTo>
                  <a:moveTo>
                    <a:pt x="688" y="44"/>
                  </a:moveTo>
                  <a:lnTo>
                    <a:pt x="688" y="44"/>
                  </a:lnTo>
                  <a:lnTo>
                    <a:pt x="635" y="41"/>
                  </a:lnTo>
                  <a:moveTo>
                    <a:pt x="581" y="37"/>
                  </a:moveTo>
                  <a:lnTo>
                    <a:pt x="581" y="37"/>
                  </a:lnTo>
                  <a:lnTo>
                    <a:pt x="528" y="34"/>
                  </a:lnTo>
                  <a:moveTo>
                    <a:pt x="475" y="31"/>
                  </a:moveTo>
                  <a:lnTo>
                    <a:pt x="475" y="31"/>
                  </a:lnTo>
                  <a:lnTo>
                    <a:pt x="422" y="27"/>
                  </a:lnTo>
                  <a:moveTo>
                    <a:pt x="368" y="24"/>
                  </a:moveTo>
                  <a:lnTo>
                    <a:pt x="368" y="24"/>
                  </a:lnTo>
                  <a:lnTo>
                    <a:pt x="315" y="20"/>
                  </a:lnTo>
                  <a:moveTo>
                    <a:pt x="262" y="17"/>
                  </a:moveTo>
                  <a:lnTo>
                    <a:pt x="262" y="17"/>
                  </a:lnTo>
                  <a:lnTo>
                    <a:pt x="209" y="14"/>
                  </a:lnTo>
                  <a:moveTo>
                    <a:pt x="156" y="10"/>
                  </a:moveTo>
                  <a:lnTo>
                    <a:pt x="156" y="10"/>
                  </a:lnTo>
                  <a:lnTo>
                    <a:pt x="102" y="7"/>
                  </a:lnTo>
                  <a:moveTo>
                    <a:pt x="49" y="3"/>
                  </a:moveTo>
                  <a:lnTo>
                    <a:pt x="49" y="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4163" y="1902"/>
              <a:ext cx="167" cy="37"/>
            </a:xfrm>
            <a:custGeom>
              <a:avLst/>
              <a:gdLst>
                <a:gd name="T0" fmla="*/ 781 w 781"/>
                <a:gd name="T1" fmla="*/ 173 h 173"/>
                <a:gd name="T2" fmla="*/ 781 w 781"/>
                <a:gd name="T3" fmla="*/ 173 h 173"/>
                <a:gd name="T4" fmla="*/ 729 w 781"/>
                <a:gd name="T5" fmla="*/ 162 h 173"/>
                <a:gd name="T6" fmla="*/ 677 w 781"/>
                <a:gd name="T7" fmla="*/ 150 h 173"/>
                <a:gd name="T8" fmla="*/ 677 w 781"/>
                <a:gd name="T9" fmla="*/ 150 h 173"/>
                <a:gd name="T10" fmla="*/ 625 w 781"/>
                <a:gd name="T11" fmla="*/ 139 h 173"/>
                <a:gd name="T12" fmla="*/ 573 w 781"/>
                <a:gd name="T13" fmla="*/ 127 h 173"/>
                <a:gd name="T14" fmla="*/ 573 w 781"/>
                <a:gd name="T15" fmla="*/ 127 h 173"/>
                <a:gd name="T16" fmla="*/ 521 w 781"/>
                <a:gd name="T17" fmla="*/ 115 h 173"/>
                <a:gd name="T18" fmla="*/ 469 w 781"/>
                <a:gd name="T19" fmla="*/ 104 h 173"/>
                <a:gd name="T20" fmla="*/ 469 w 781"/>
                <a:gd name="T21" fmla="*/ 104 h 173"/>
                <a:gd name="T22" fmla="*/ 417 w 781"/>
                <a:gd name="T23" fmla="*/ 92 h 173"/>
                <a:gd name="T24" fmla="*/ 365 w 781"/>
                <a:gd name="T25" fmla="*/ 81 h 173"/>
                <a:gd name="T26" fmla="*/ 365 w 781"/>
                <a:gd name="T27" fmla="*/ 81 h 173"/>
                <a:gd name="T28" fmla="*/ 313 w 781"/>
                <a:gd name="T29" fmla="*/ 69 h 173"/>
                <a:gd name="T30" fmla="*/ 260 w 781"/>
                <a:gd name="T31" fmla="*/ 58 h 173"/>
                <a:gd name="T32" fmla="*/ 260 w 781"/>
                <a:gd name="T33" fmla="*/ 58 h 173"/>
                <a:gd name="T34" fmla="*/ 208 w 781"/>
                <a:gd name="T35" fmla="*/ 46 h 173"/>
                <a:gd name="T36" fmla="*/ 156 w 781"/>
                <a:gd name="T37" fmla="*/ 35 h 173"/>
                <a:gd name="T38" fmla="*/ 156 w 781"/>
                <a:gd name="T39" fmla="*/ 35 h 173"/>
                <a:gd name="T40" fmla="*/ 104 w 781"/>
                <a:gd name="T41" fmla="*/ 23 h 173"/>
                <a:gd name="T42" fmla="*/ 52 w 781"/>
                <a:gd name="T43" fmla="*/ 12 h 173"/>
                <a:gd name="T44" fmla="*/ 52 w 781"/>
                <a:gd name="T45" fmla="*/ 12 h 173"/>
                <a:gd name="T46" fmla="*/ 0 w 781"/>
                <a:gd name="T4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1" h="173">
                  <a:moveTo>
                    <a:pt x="781" y="173"/>
                  </a:moveTo>
                  <a:lnTo>
                    <a:pt x="781" y="173"/>
                  </a:lnTo>
                  <a:lnTo>
                    <a:pt x="729" y="162"/>
                  </a:lnTo>
                  <a:moveTo>
                    <a:pt x="677" y="150"/>
                  </a:moveTo>
                  <a:lnTo>
                    <a:pt x="677" y="150"/>
                  </a:lnTo>
                  <a:lnTo>
                    <a:pt x="625" y="139"/>
                  </a:lnTo>
                  <a:moveTo>
                    <a:pt x="573" y="127"/>
                  </a:moveTo>
                  <a:lnTo>
                    <a:pt x="573" y="127"/>
                  </a:lnTo>
                  <a:lnTo>
                    <a:pt x="521" y="115"/>
                  </a:lnTo>
                  <a:moveTo>
                    <a:pt x="469" y="104"/>
                  </a:moveTo>
                  <a:lnTo>
                    <a:pt x="469" y="104"/>
                  </a:lnTo>
                  <a:lnTo>
                    <a:pt x="417" y="92"/>
                  </a:lnTo>
                  <a:moveTo>
                    <a:pt x="365" y="81"/>
                  </a:moveTo>
                  <a:lnTo>
                    <a:pt x="365" y="81"/>
                  </a:lnTo>
                  <a:lnTo>
                    <a:pt x="313" y="69"/>
                  </a:lnTo>
                  <a:moveTo>
                    <a:pt x="260" y="58"/>
                  </a:moveTo>
                  <a:lnTo>
                    <a:pt x="260" y="58"/>
                  </a:lnTo>
                  <a:lnTo>
                    <a:pt x="208" y="46"/>
                  </a:lnTo>
                  <a:moveTo>
                    <a:pt x="156" y="35"/>
                  </a:moveTo>
                  <a:lnTo>
                    <a:pt x="156" y="35"/>
                  </a:lnTo>
                  <a:lnTo>
                    <a:pt x="104" y="23"/>
                  </a:lnTo>
                  <a:moveTo>
                    <a:pt x="52" y="12"/>
                  </a:moveTo>
                  <a:lnTo>
                    <a:pt x="52" y="1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050" y="1824"/>
              <a:ext cx="84" cy="58"/>
            </a:xfrm>
            <a:custGeom>
              <a:avLst/>
              <a:gdLst>
                <a:gd name="T0" fmla="*/ 396 w 396"/>
                <a:gd name="T1" fmla="*/ 271 h 271"/>
                <a:gd name="T2" fmla="*/ 396 w 396"/>
                <a:gd name="T3" fmla="*/ 271 h 271"/>
                <a:gd name="T4" fmla="*/ 352 w 396"/>
                <a:gd name="T5" fmla="*/ 241 h 271"/>
                <a:gd name="T6" fmla="*/ 308 w 396"/>
                <a:gd name="T7" fmla="*/ 211 h 271"/>
                <a:gd name="T8" fmla="*/ 308 w 396"/>
                <a:gd name="T9" fmla="*/ 211 h 271"/>
                <a:gd name="T10" fmla="*/ 264 w 396"/>
                <a:gd name="T11" fmla="*/ 181 h 271"/>
                <a:gd name="T12" fmla="*/ 220 w 396"/>
                <a:gd name="T13" fmla="*/ 151 h 271"/>
                <a:gd name="T14" fmla="*/ 220 w 396"/>
                <a:gd name="T15" fmla="*/ 151 h 271"/>
                <a:gd name="T16" fmla="*/ 176 w 396"/>
                <a:gd name="T17" fmla="*/ 120 h 271"/>
                <a:gd name="T18" fmla="*/ 132 w 396"/>
                <a:gd name="T19" fmla="*/ 90 h 271"/>
                <a:gd name="T20" fmla="*/ 132 w 396"/>
                <a:gd name="T21" fmla="*/ 90 h 271"/>
                <a:gd name="T22" fmla="*/ 88 w 396"/>
                <a:gd name="T23" fmla="*/ 60 h 271"/>
                <a:gd name="T24" fmla="*/ 44 w 396"/>
                <a:gd name="T25" fmla="*/ 30 h 271"/>
                <a:gd name="T26" fmla="*/ 44 w 396"/>
                <a:gd name="T27" fmla="*/ 30 h 271"/>
                <a:gd name="T28" fmla="*/ 0 w 396"/>
                <a:gd name="T2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6" h="271">
                  <a:moveTo>
                    <a:pt x="396" y="271"/>
                  </a:moveTo>
                  <a:lnTo>
                    <a:pt x="396" y="271"/>
                  </a:lnTo>
                  <a:lnTo>
                    <a:pt x="352" y="241"/>
                  </a:lnTo>
                  <a:moveTo>
                    <a:pt x="308" y="211"/>
                  </a:moveTo>
                  <a:lnTo>
                    <a:pt x="308" y="211"/>
                  </a:lnTo>
                  <a:lnTo>
                    <a:pt x="264" y="181"/>
                  </a:lnTo>
                  <a:moveTo>
                    <a:pt x="220" y="151"/>
                  </a:moveTo>
                  <a:lnTo>
                    <a:pt x="220" y="151"/>
                  </a:lnTo>
                  <a:lnTo>
                    <a:pt x="176" y="120"/>
                  </a:lnTo>
                  <a:moveTo>
                    <a:pt x="132" y="90"/>
                  </a:moveTo>
                  <a:lnTo>
                    <a:pt x="132" y="90"/>
                  </a:lnTo>
                  <a:lnTo>
                    <a:pt x="88" y="60"/>
                  </a:lnTo>
                  <a:moveTo>
                    <a:pt x="44" y="30"/>
                  </a:moveTo>
                  <a:lnTo>
                    <a:pt x="44" y="3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</p:grpSp>
      <p:pic>
        <p:nvPicPr>
          <p:cNvPr id="82" name="Picture 8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403" y="2510769"/>
            <a:ext cx="618749" cy="623599"/>
          </a:xfrm>
          <a:prstGeom prst="rect">
            <a:avLst/>
          </a:prstGeom>
        </p:spPr>
      </p:pic>
      <p:sp>
        <p:nvSpPr>
          <p:cNvPr id="83" name="Flowchart: Magnetic Disk 82"/>
          <p:cNvSpPr/>
          <p:nvPr/>
        </p:nvSpPr>
        <p:spPr>
          <a:xfrm>
            <a:off x="8011268" y="3058402"/>
            <a:ext cx="773739" cy="88904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BIG DATA</a:t>
            </a:r>
          </a:p>
        </p:txBody>
      </p:sp>
    </p:spTree>
    <p:extLst>
      <p:ext uri="{BB962C8B-B14F-4D97-AF65-F5344CB8AC3E}">
        <p14:creationId xmlns:p14="http://schemas.microsoft.com/office/powerpoint/2010/main" val="254502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AU" dirty="0"/>
              <a:t>Function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FFF7CBAA-22EA-41CE-9725-C57ED0CEBC27}" type="slidenum">
              <a:rPr lang="en-AU" smtClean="0"/>
              <a:pPr/>
              <a:t>12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573914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8000" y="300698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Functional Suitability from ISO/IEC 25010:2011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sz="2400" dirty="0"/>
              <a:t>Functional Correctness</a:t>
            </a:r>
          </a:p>
          <a:p>
            <a:pPr lvl="1"/>
            <a:r>
              <a:rPr lang="en-AU" sz="1800" dirty="0"/>
              <a:t>degree to which a product or system provides the correct results with the needed degree of precision</a:t>
            </a:r>
          </a:p>
          <a:p>
            <a:pPr lvl="1"/>
            <a:endParaRPr lang="en-AU" sz="1800" dirty="0"/>
          </a:p>
          <a:p>
            <a:r>
              <a:rPr lang="en-AU" sz="2400" dirty="0"/>
              <a:t>Functional Completeness</a:t>
            </a:r>
          </a:p>
          <a:p>
            <a:pPr lvl="1"/>
            <a:r>
              <a:rPr lang="en-AU" sz="1800" dirty="0"/>
              <a:t>degree to which the set of functions covers all the specified tasks and user objectives</a:t>
            </a:r>
          </a:p>
          <a:p>
            <a:pPr lvl="1"/>
            <a:endParaRPr lang="en-AU" sz="1800" dirty="0"/>
          </a:p>
          <a:p>
            <a:r>
              <a:rPr lang="en-AU" sz="2400" dirty="0"/>
              <a:t>Functional Appropriateness</a:t>
            </a:r>
          </a:p>
          <a:p>
            <a:pPr lvl="1"/>
            <a:r>
              <a:rPr lang="en-AU" sz="1800" dirty="0"/>
              <a:t>degree to which the functions facilitate the accomplishment of specified tasks and objectiv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657722-1D9A-4612-A386-5D7D458A6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5273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Curved Left Arrow 64"/>
          <p:cNvSpPr/>
          <p:nvPr/>
        </p:nvSpPr>
        <p:spPr>
          <a:xfrm>
            <a:off x="7707811" y="1024601"/>
            <a:ext cx="398214" cy="1961260"/>
          </a:xfrm>
          <a:prstGeom prst="curved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49516" y="5023914"/>
            <a:ext cx="1338828" cy="2543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(Staples, 2014, 2015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Verification and Valid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75F7F2-6209-4099-A0C6-4DCDFF03E37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4</a:t>
            </a:fld>
            <a:endParaRPr lang="en-US"/>
          </a:p>
        </p:txBody>
      </p:sp>
      <p:sp>
        <p:nvSpPr>
          <p:cNvPr id="5" name="Explosion 1 4"/>
          <p:cNvSpPr/>
          <p:nvPr/>
        </p:nvSpPr>
        <p:spPr>
          <a:xfrm>
            <a:off x="4245418" y="920751"/>
            <a:ext cx="788603" cy="801951"/>
          </a:xfrm>
          <a:prstGeom prst="irregularSeal1">
            <a:avLst/>
          </a:prstGeom>
          <a:solidFill>
            <a:srgbClr val="8D65D2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sp>
        <p:nvSpPr>
          <p:cNvPr id="7" name="Cloud Callout 6"/>
          <p:cNvSpPr/>
          <p:nvPr/>
        </p:nvSpPr>
        <p:spPr>
          <a:xfrm>
            <a:off x="4303494" y="1779756"/>
            <a:ext cx="674386" cy="459486"/>
          </a:xfrm>
          <a:prstGeom prst="cloudCallout">
            <a:avLst>
              <a:gd name="adj1" fmla="val -39437"/>
              <a:gd name="adj2" fmla="val 67706"/>
            </a:avLst>
          </a:prstGeom>
          <a:solidFill>
            <a:srgbClr val="8D65D2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sp>
        <p:nvSpPr>
          <p:cNvPr id="8" name="Rectangular Callout 7"/>
          <p:cNvSpPr/>
          <p:nvPr/>
        </p:nvSpPr>
        <p:spPr>
          <a:xfrm>
            <a:off x="4245418" y="2472127"/>
            <a:ext cx="788603" cy="471736"/>
          </a:xfrm>
          <a:prstGeom prst="wedgeRectCallout">
            <a:avLst>
              <a:gd name="adj1" fmla="val -39073"/>
              <a:gd name="adj2" fmla="val 78742"/>
            </a:avLst>
          </a:prstGeom>
          <a:solidFill>
            <a:srgbClr val="8D65D2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sp>
        <p:nvSpPr>
          <p:cNvPr id="9" name="Rectangular Callout 8"/>
          <p:cNvSpPr/>
          <p:nvPr/>
        </p:nvSpPr>
        <p:spPr>
          <a:xfrm>
            <a:off x="4245418" y="3209287"/>
            <a:ext cx="788603" cy="471736"/>
          </a:xfrm>
          <a:prstGeom prst="wedgeRectCallout">
            <a:avLst>
              <a:gd name="adj1" fmla="val -39073"/>
              <a:gd name="adj2" fmla="val 78742"/>
            </a:avLst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sp>
        <p:nvSpPr>
          <p:cNvPr id="10" name="Cloud Callout 9"/>
          <p:cNvSpPr/>
          <p:nvPr/>
        </p:nvSpPr>
        <p:spPr>
          <a:xfrm>
            <a:off x="4303494" y="3911364"/>
            <a:ext cx="674386" cy="459486"/>
          </a:xfrm>
          <a:prstGeom prst="cloudCallout">
            <a:avLst>
              <a:gd name="adj1" fmla="val -37112"/>
              <a:gd name="adj2" fmla="val 67706"/>
            </a:avLst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sp>
        <p:nvSpPr>
          <p:cNvPr id="11" name="Explosion 1 10"/>
          <p:cNvSpPr/>
          <p:nvPr/>
        </p:nvSpPr>
        <p:spPr>
          <a:xfrm>
            <a:off x="4245418" y="4490031"/>
            <a:ext cx="788603" cy="801951"/>
          </a:xfrm>
          <a:prstGeom prst="irregularSeal1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cxnSp>
        <p:nvCxnSpPr>
          <p:cNvPr id="13" name="Straight Arrow Connector 12"/>
          <p:cNvCxnSpPr>
            <a:stCxn id="7" idx="3"/>
          </p:cNvCxnSpPr>
          <p:nvPr/>
        </p:nvCxnSpPr>
        <p:spPr>
          <a:xfrm flipV="1">
            <a:off x="4640686" y="1581704"/>
            <a:ext cx="5708" cy="224324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646393" y="2247803"/>
            <a:ext cx="0" cy="224324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639823" y="2985860"/>
            <a:ext cx="0" cy="224324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4639823" y="3687938"/>
            <a:ext cx="0" cy="224324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649203" y="4377869"/>
            <a:ext cx="0" cy="224324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Isosceles Triangle 42"/>
          <p:cNvSpPr/>
          <p:nvPr/>
        </p:nvSpPr>
        <p:spPr>
          <a:xfrm rot="5400000">
            <a:off x="4026693" y="2690852"/>
            <a:ext cx="471737" cy="34289"/>
          </a:xfrm>
          <a:prstGeom prst="triangl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/>
          </a:p>
        </p:txBody>
      </p:sp>
      <p:sp>
        <p:nvSpPr>
          <p:cNvPr id="61" name="Isosceles Triangle 60"/>
          <p:cNvSpPr/>
          <p:nvPr/>
        </p:nvSpPr>
        <p:spPr>
          <a:xfrm rot="5400000">
            <a:off x="4028447" y="3431021"/>
            <a:ext cx="477753" cy="34289"/>
          </a:xfrm>
          <a:prstGeom prst="triangl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/>
          </a:p>
        </p:txBody>
      </p:sp>
      <p:cxnSp>
        <p:nvCxnSpPr>
          <p:cNvPr id="73" name="Straight Connector 72"/>
          <p:cNvCxnSpPr>
            <a:stCxn id="49" idx="1"/>
            <a:endCxn id="54" idx="3"/>
          </p:cNvCxnSpPr>
          <p:nvPr/>
        </p:nvCxnSpPr>
        <p:spPr>
          <a:xfrm flipH="1" flipV="1">
            <a:off x="3267129" y="2362823"/>
            <a:ext cx="643092" cy="268795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stCxn id="51" idx="3"/>
            <a:endCxn id="58" idx="3"/>
          </p:cNvCxnSpPr>
          <p:nvPr/>
        </p:nvCxnSpPr>
        <p:spPr>
          <a:xfrm flipH="1">
            <a:off x="3243896" y="3539519"/>
            <a:ext cx="666325" cy="272123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endCxn id="56" idx="3"/>
          </p:cNvCxnSpPr>
          <p:nvPr/>
        </p:nvCxnSpPr>
        <p:spPr>
          <a:xfrm flipH="1">
            <a:off x="3117876" y="3112759"/>
            <a:ext cx="1418445" cy="11542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Isosceles Triangle 86"/>
          <p:cNvSpPr/>
          <p:nvPr/>
        </p:nvSpPr>
        <p:spPr>
          <a:xfrm rot="5400000">
            <a:off x="3702055" y="1882235"/>
            <a:ext cx="1161944" cy="40931"/>
          </a:xfrm>
          <a:prstGeom prst="triangl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/>
          </a:p>
        </p:txBody>
      </p:sp>
      <p:sp>
        <p:nvSpPr>
          <p:cNvPr id="92" name="Isosceles Triangle 91"/>
          <p:cNvSpPr/>
          <p:nvPr/>
        </p:nvSpPr>
        <p:spPr>
          <a:xfrm rot="5400000">
            <a:off x="3689674" y="4283098"/>
            <a:ext cx="1161944" cy="40931"/>
          </a:xfrm>
          <a:prstGeom prst="triangl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/>
          </a:p>
        </p:txBody>
      </p:sp>
      <p:cxnSp>
        <p:nvCxnSpPr>
          <p:cNvPr id="93" name="Straight Connector 92"/>
          <p:cNvCxnSpPr>
            <a:stCxn id="28" idx="2"/>
            <a:endCxn id="53" idx="3"/>
          </p:cNvCxnSpPr>
          <p:nvPr/>
        </p:nvCxnSpPr>
        <p:spPr>
          <a:xfrm flipH="1" flipV="1">
            <a:off x="3243896" y="1644893"/>
            <a:ext cx="593115" cy="227562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stCxn id="57" idx="3"/>
            <a:endCxn id="55" idx="2"/>
          </p:cNvCxnSpPr>
          <p:nvPr/>
        </p:nvCxnSpPr>
        <p:spPr>
          <a:xfrm flipV="1">
            <a:off x="3187830" y="4271757"/>
            <a:ext cx="649181" cy="201524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ular Callout 11"/>
          <p:cNvSpPr/>
          <p:nvPr/>
        </p:nvSpPr>
        <p:spPr>
          <a:xfrm>
            <a:off x="316795" y="2871271"/>
            <a:ext cx="788603" cy="471736"/>
          </a:xfrm>
          <a:prstGeom prst="wedgeRectCallout">
            <a:avLst>
              <a:gd name="adj1" fmla="val -39073"/>
              <a:gd name="adj2" fmla="val 78742"/>
            </a:avLst>
          </a:prstGeom>
          <a:solidFill>
            <a:srgbClr val="62AC1E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 dirty="0"/>
          </a:p>
        </p:txBody>
      </p:sp>
      <p:sp>
        <p:nvSpPr>
          <p:cNvPr id="41" name="TextBox 40"/>
          <p:cNvSpPr txBox="1"/>
          <p:nvPr/>
        </p:nvSpPr>
        <p:spPr>
          <a:xfrm>
            <a:off x="122955" y="2333954"/>
            <a:ext cx="830677" cy="4163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AU" sz="1053" i="1" dirty="0"/>
              <a:t>Engineering</a:t>
            </a:r>
          </a:p>
          <a:p>
            <a:pPr algn="r"/>
            <a:r>
              <a:rPr lang="en-AU" sz="1053" i="1" dirty="0"/>
              <a:t>Theorie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066540" y="1156129"/>
            <a:ext cx="1043876" cy="2543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Usage Situation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066541" y="1697875"/>
            <a:ext cx="939681" cy="4163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Intended</a:t>
            </a:r>
          </a:p>
          <a:p>
            <a:r>
              <a:rPr lang="en-AU" sz="1053" i="1" dirty="0"/>
              <a:t>Requirement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066541" y="2420530"/>
            <a:ext cx="939681" cy="4163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Requirements</a:t>
            </a:r>
          </a:p>
          <a:p>
            <a:r>
              <a:rPr lang="en-AU" sz="1053" i="1" dirty="0"/>
              <a:t>Specifications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066541" y="3294157"/>
            <a:ext cx="606256" cy="2543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Design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066541" y="3853641"/>
            <a:ext cx="1042273" cy="4163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Observations of</a:t>
            </a:r>
          </a:p>
          <a:p>
            <a:r>
              <a:rPr lang="en-AU" sz="1053" i="1" dirty="0"/>
              <a:t>Performanc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066541" y="4692892"/>
            <a:ext cx="1061509" cy="2543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053" i="1" dirty="0"/>
              <a:t>Artefact as Built</a:t>
            </a:r>
          </a:p>
        </p:txBody>
      </p:sp>
      <p:sp>
        <p:nvSpPr>
          <p:cNvPr id="50" name="Oval 49"/>
          <p:cNvSpPr/>
          <p:nvPr/>
        </p:nvSpPr>
        <p:spPr>
          <a:xfrm>
            <a:off x="3728846" y="3004347"/>
            <a:ext cx="216024" cy="216024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3" b="1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33" name="Curved Connector 32"/>
          <p:cNvCxnSpPr>
            <a:stCxn id="43" idx="2"/>
            <a:endCxn id="43" idx="4"/>
          </p:cNvCxnSpPr>
          <p:nvPr/>
        </p:nvCxnSpPr>
        <p:spPr>
          <a:xfrm rot="10800000" flipV="1">
            <a:off x="4245417" y="2472128"/>
            <a:ext cx="9525" cy="471737"/>
          </a:xfrm>
          <a:prstGeom prst="curvedConnector3">
            <a:avLst>
              <a:gd name="adj1" fmla="val 2840488"/>
            </a:avLst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urved Connector 59"/>
          <p:cNvCxnSpPr>
            <a:stCxn id="61" idx="2"/>
            <a:endCxn id="61" idx="4"/>
          </p:cNvCxnSpPr>
          <p:nvPr/>
        </p:nvCxnSpPr>
        <p:spPr>
          <a:xfrm rot="10800000" flipV="1">
            <a:off x="4250180" y="3209288"/>
            <a:ext cx="9525" cy="477753"/>
          </a:xfrm>
          <a:prstGeom prst="curvedConnector3">
            <a:avLst>
              <a:gd name="adj1" fmla="val 2872079"/>
            </a:avLst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urved Connector 84"/>
          <p:cNvCxnSpPr>
            <a:stCxn id="87" idx="2"/>
            <a:endCxn id="87" idx="4"/>
          </p:cNvCxnSpPr>
          <p:nvPr/>
        </p:nvCxnSpPr>
        <p:spPr>
          <a:xfrm rot="10800000" flipV="1">
            <a:off x="4262561" y="1321728"/>
            <a:ext cx="9525" cy="1161944"/>
          </a:xfrm>
          <a:prstGeom prst="curvedConnector3">
            <a:avLst>
              <a:gd name="adj1" fmla="val 3331094"/>
            </a:avLst>
          </a:prstGeom>
          <a:ln>
            <a:solidFill>
              <a:schemeClr val="tx1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urved Connector 90"/>
          <p:cNvCxnSpPr>
            <a:stCxn id="92" idx="2"/>
            <a:endCxn id="92" idx="4"/>
          </p:cNvCxnSpPr>
          <p:nvPr/>
        </p:nvCxnSpPr>
        <p:spPr>
          <a:xfrm rot="10800000" flipV="1">
            <a:off x="4250179" y="3722591"/>
            <a:ext cx="9525" cy="1161944"/>
          </a:xfrm>
          <a:prstGeom prst="curvedConnector3">
            <a:avLst>
              <a:gd name="adj1" fmla="val 3331094"/>
            </a:avLst>
          </a:prstGeom>
          <a:ln>
            <a:solidFill>
              <a:schemeClr val="tx1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484629" y="1321727"/>
            <a:ext cx="17592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Requirements</a:t>
            </a:r>
          </a:p>
          <a:p>
            <a:pPr algn="ctr"/>
            <a:r>
              <a:rPr lang="en-AU" sz="1800" dirty="0"/>
              <a:t>Validity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461394" y="2039657"/>
            <a:ext cx="18057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Requirements Decomposition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610646" y="2801135"/>
            <a:ext cx="15072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Operational Principle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540696" y="4288615"/>
            <a:ext cx="1647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Design Validity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484629" y="3488476"/>
            <a:ext cx="17592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800" dirty="0"/>
              <a:t>Design Decomposition</a:t>
            </a:r>
          </a:p>
        </p:txBody>
      </p:sp>
      <p:sp>
        <p:nvSpPr>
          <p:cNvPr id="49" name="Oval 48"/>
          <p:cNvSpPr/>
          <p:nvPr/>
        </p:nvSpPr>
        <p:spPr>
          <a:xfrm>
            <a:off x="3878585" y="2599982"/>
            <a:ext cx="216024" cy="216024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3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Oval 54"/>
          <p:cNvSpPr/>
          <p:nvPr/>
        </p:nvSpPr>
        <p:spPr>
          <a:xfrm>
            <a:off x="3837011" y="4163745"/>
            <a:ext cx="216024" cy="216024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3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1" name="Oval 50"/>
          <p:cNvSpPr/>
          <p:nvPr/>
        </p:nvSpPr>
        <p:spPr>
          <a:xfrm>
            <a:off x="3878585" y="3355131"/>
            <a:ext cx="216024" cy="216024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3" b="1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79" name="Straight Connector 78"/>
          <p:cNvCxnSpPr>
            <a:stCxn id="53" idx="1"/>
            <a:endCxn id="12" idx="3"/>
          </p:cNvCxnSpPr>
          <p:nvPr/>
        </p:nvCxnSpPr>
        <p:spPr>
          <a:xfrm flipH="1">
            <a:off x="1105398" y="1644893"/>
            <a:ext cx="379231" cy="1462246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54" idx="1"/>
            <a:endCxn id="12" idx="3"/>
          </p:cNvCxnSpPr>
          <p:nvPr/>
        </p:nvCxnSpPr>
        <p:spPr>
          <a:xfrm flipH="1">
            <a:off x="1105398" y="2362823"/>
            <a:ext cx="355996" cy="744316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stCxn id="56" idx="1"/>
            <a:endCxn id="12" idx="3"/>
          </p:cNvCxnSpPr>
          <p:nvPr/>
        </p:nvCxnSpPr>
        <p:spPr>
          <a:xfrm flipH="1" flipV="1">
            <a:off x="1105398" y="3107139"/>
            <a:ext cx="505248" cy="17162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58" idx="1"/>
            <a:endCxn id="12" idx="3"/>
          </p:cNvCxnSpPr>
          <p:nvPr/>
        </p:nvCxnSpPr>
        <p:spPr>
          <a:xfrm flipH="1" flipV="1">
            <a:off x="1105398" y="3107139"/>
            <a:ext cx="379231" cy="704503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stCxn id="57" idx="1"/>
            <a:endCxn id="12" idx="3"/>
          </p:cNvCxnSpPr>
          <p:nvPr/>
        </p:nvCxnSpPr>
        <p:spPr>
          <a:xfrm flipH="1" flipV="1">
            <a:off x="1105398" y="3107139"/>
            <a:ext cx="435298" cy="1366142"/>
          </a:xfrm>
          <a:prstGeom prst="line">
            <a:avLst/>
          </a:prstGeom>
          <a:ln>
            <a:solidFill>
              <a:srgbClr val="62AC1E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3837011" y="1764443"/>
            <a:ext cx="216024" cy="216024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3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" name="Curved Left Arrow 2"/>
          <p:cNvSpPr/>
          <p:nvPr/>
        </p:nvSpPr>
        <p:spPr>
          <a:xfrm>
            <a:off x="6239521" y="2497682"/>
            <a:ext cx="483281" cy="1355958"/>
          </a:xfrm>
          <a:prstGeom prst="curved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59" name="Curved Left Arrow 58"/>
          <p:cNvSpPr/>
          <p:nvPr/>
        </p:nvSpPr>
        <p:spPr>
          <a:xfrm>
            <a:off x="6252592" y="2497682"/>
            <a:ext cx="636665" cy="2717950"/>
          </a:xfrm>
          <a:prstGeom prst="curved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413121" y="3757155"/>
            <a:ext cx="1201355" cy="30841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AU" dirty="0"/>
              <a:t>VERIFICATION</a:t>
            </a:r>
          </a:p>
        </p:txBody>
      </p:sp>
      <p:sp>
        <p:nvSpPr>
          <p:cNvPr id="63" name="Curved Left Arrow 62"/>
          <p:cNvSpPr/>
          <p:nvPr/>
        </p:nvSpPr>
        <p:spPr>
          <a:xfrm>
            <a:off x="7698857" y="1024600"/>
            <a:ext cx="768116" cy="4294419"/>
          </a:xfrm>
          <a:prstGeom prst="curved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7894366" y="2943813"/>
            <a:ext cx="1070037" cy="30841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AU" dirty="0"/>
              <a:t>VALIDA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39521" y="2896836"/>
            <a:ext cx="1201355" cy="524503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AU" dirty="0"/>
              <a:t>DESIGN</a:t>
            </a:r>
          </a:p>
          <a:p>
            <a:r>
              <a:rPr lang="en-AU" dirty="0"/>
              <a:t>VERIFICATION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494772" y="1646295"/>
            <a:ext cx="1365567" cy="524503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AU" dirty="0"/>
              <a:t>REQUIREMENTS</a:t>
            </a:r>
            <a:br>
              <a:rPr lang="en-AU" dirty="0"/>
            </a:br>
            <a:r>
              <a:rPr lang="en-AU" dirty="0"/>
              <a:t>VALIDATION</a:t>
            </a:r>
          </a:p>
        </p:txBody>
      </p:sp>
    </p:spTree>
    <p:extLst>
      <p:ext uri="{BB962C8B-B14F-4D97-AF65-F5344CB8AC3E}">
        <p14:creationId xmlns:p14="http://schemas.microsoft.com/office/powerpoint/2010/main" val="3095442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61" grpId="0"/>
      <p:bldP spid="87" grpId="0"/>
      <p:bldP spid="92" grpId="0"/>
      <p:bldP spid="12" grpId="0" animBg="1"/>
      <p:bldP spid="41" grpId="0"/>
      <p:bldP spid="50" grpId="0" animBg="1"/>
      <p:bldP spid="53" grpId="0"/>
      <p:bldP spid="54" grpId="0"/>
      <p:bldP spid="56" grpId="0"/>
      <p:bldP spid="57" grpId="0"/>
      <p:bldP spid="58" grpId="0"/>
      <p:bldP spid="49" grpId="0" animBg="1"/>
      <p:bldP spid="55" grpId="0" animBg="1"/>
      <p:bldP spid="51" grpId="0" animBg="1"/>
      <p:bldP spid="2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What Function?  Is it true that “Code is Law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sz="2400" dirty="0"/>
              <a:t>Lawrence Lessig’s famous quote: “Code is Law”</a:t>
            </a:r>
          </a:p>
          <a:p>
            <a:pPr marL="834676" lvl="4" indent="0">
              <a:buNone/>
            </a:pPr>
            <a:r>
              <a:rPr lang="en-AU" sz="1200" dirty="0">
                <a:hlinkClick r:id="rId2"/>
              </a:rPr>
              <a:t>https://harvardmagazine.com/2000/01/code-is-law-html</a:t>
            </a:r>
            <a:r>
              <a:rPr lang="en-AU" sz="1200" dirty="0"/>
              <a:t> </a:t>
            </a:r>
          </a:p>
          <a:p>
            <a:pPr lvl="1"/>
            <a:r>
              <a:rPr lang="en-AU" sz="1800" dirty="0"/>
              <a:t>Some people think this means “The power of code can take over from the law”</a:t>
            </a:r>
          </a:p>
          <a:p>
            <a:pPr lvl="1"/>
            <a:r>
              <a:rPr lang="en-AU" sz="1800" dirty="0" err="1"/>
              <a:t>Lessig</a:t>
            </a:r>
            <a:r>
              <a:rPr lang="en-AU" sz="1800" dirty="0"/>
              <a:t> meant: “Code requires choices about values, has social implications, and should be governed like the law”</a:t>
            </a:r>
          </a:p>
          <a:p>
            <a:pPr lvl="1"/>
            <a:endParaRPr lang="en-AU" sz="1800" dirty="0"/>
          </a:p>
          <a:p>
            <a:r>
              <a:rPr lang="en-AU" sz="2400" dirty="0"/>
              <a:t>“The DAO” failure on Ethereum in 2016</a:t>
            </a:r>
          </a:p>
          <a:p>
            <a:pPr lvl="1"/>
            <a:r>
              <a:rPr lang="en-AU" sz="1800" dirty="0"/>
              <a:t>An instance of the “Distributed Autonomous Organisation” concept</a:t>
            </a:r>
          </a:p>
          <a:p>
            <a:pPr lvl="1"/>
            <a:r>
              <a:rPr lang="en-AU" sz="1800" dirty="0"/>
              <a:t>“The DAO” was for decentralised control of investment funds, raised &gt; $150M</a:t>
            </a:r>
          </a:p>
          <a:p>
            <a:pPr lvl="1"/>
            <a:r>
              <a:rPr lang="en-AU" sz="1800" dirty="0"/>
              <a:t>But the code was used in an unexpected way to siphon funds away (~ $60M)</a:t>
            </a:r>
          </a:p>
          <a:p>
            <a:pPr lvl="1"/>
            <a:r>
              <a:rPr lang="en-AU" sz="1800" dirty="0"/>
              <a:t>Led to a hard fork in Ethereum vs. Ethereum Classic to reverse the effects of that</a:t>
            </a:r>
          </a:p>
          <a:p>
            <a:pPr lvl="1"/>
            <a:endParaRPr lang="en-AU" sz="18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57AC4-52DA-4D2F-B57B-0C93D2F26A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2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AU" dirty="0"/>
              <a:t>The terms of The DAO Creation are set forth in the smart contract code existing on the Ethereum blockchain at 0xbb9bc244d798123fde783fcc1c72d3bb8c189413. </a:t>
            </a:r>
            <a:r>
              <a:rPr lang="en-AU" b="1" dirty="0"/>
              <a:t>Nothing</a:t>
            </a:r>
            <a:r>
              <a:rPr lang="en-AU" dirty="0"/>
              <a:t> in this explanation of terms or in any other document or communication </a:t>
            </a:r>
            <a:r>
              <a:rPr lang="en-AU" b="1" dirty="0"/>
              <a:t>may modify or add</a:t>
            </a:r>
            <a:r>
              <a:rPr lang="en-AU" dirty="0"/>
              <a:t> any additional obligations or guarantees </a:t>
            </a:r>
            <a:r>
              <a:rPr lang="en-AU" b="1" dirty="0"/>
              <a:t>beyond those set forth in The DAO’s code</a:t>
            </a:r>
            <a:r>
              <a:rPr lang="en-AU" dirty="0"/>
              <a:t>. Any and all explanatory terms or descriptions are merely offered for educational purposes and do not </a:t>
            </a:r>
            <a:r>
              <a:rPr lang="en-AU" dirty="0" err="1"/>
              <a:t>supercede</a:t>
            </a:r>
            <a:r>
              <a:rPr lang="en-AU" dirty="0"/>
              <a:t> or modify the express terms of The DAO’s code set forth on the blockchain; to the extent you believe there to be any conflict or discrepancy between the descriptions offered here and the functionality of The DAO’s code at 0xbb9bc244d798123fde783fcc1c72d3bb8c189413, </a:t>
            </a:r>
            <a:r>
              <a:rPr lang="en-AU" b="1" dirty="0"/>
              <a:t>The DAO’s code controls and sets forth all terms of The DAO Creation.</a:t>
            </a:r>
          </a:p>
          <a:p>
            <a:endParaRPr lang="en-A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8000" y="320432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>
                <a:hlinkClick r:id="rId2"/>
              </a:rPr>
              <a:t>The DAO terms</a:t>
            </a:r>
            <a:br>
              <a:rPr lang="en-AU" sz="2800" dirty="0"/>
            </a:br>
            <a:r>
              <a:rPr lang="en-AU" sz="2800" dirty="0"/>
              <a:t>Explanation of Terms and Disclaimer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0FBCDF8-A8DE-4AFA-9579-EA3C2643C53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5039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at Should Your Specification Be?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sz="2400" dirty="0"/>
              <a:t>There was no problem with Ethereum virtual machine;</a:t>
            </a:r>
            <a:br>
              <a:rPr lang="en-AU" sz="2400" dirty="0"/>
            </a:br>
            <a:r>
              <a:rPr lang="en-AU" sz="2400" dirty="0"/>
              <a:t>the code functioned exactly as it was written</a:t>
            </a:r>
          </a:p>
          <a:p>
            <a:pPr lvl="1"/>
            <a:endParaRPr lang="en-AU" sz="1800" dirty="0"/>
          </a:p>
          <a:p>
            <a:r>
              <a:rPr lang="en-AU" sz="2400" dirty="0"/>
              <a:t>Question: Was this a “bug” in the DAO code?</a:t>
            </a:r>
          </a:p>
          <a:p>
            <a:pPr lvl="1"/>
            <a:endParaRPr lang="en-AU" sz="1800" dirty="0"/>
          </a:p>
          <a:p>
            <a:r>
              <a:rPr lang="en-AU" sz="2400" dirty="0"/>
              <a:t>Lessons from the DAO failure</a:t>
            </a:r>
          </a:p>
          <a:p>
            <a:pPr lvl="1"/>
            <a:r>
              <a:rPr lang="en-AU" sz="2000" dirty="0"/>
              <a:t>Lesson: Code is not the law</a:t>
            </a:r>
          </a:p>
          <a:p>
            <a:pPr lvl="1"/>
            <a:r>
              <a:rPr lang="en-AU" sz="2000" dirty="0"/>
              <a:t>Lesson: Code is not a good way of specifying smart contracts</a:t>
            </a:r>
          </a:p>
          <a:p>
            <a:pPr lvl="1"/>
            <a:endParaRPr lang="en-AU" sz="1800" dirty="0"/>
          </a:p>
          <a:p>
            <a:r>
              <a:rPr lang="en-AU" sz="2400" dirty="0"/>
              <a:t>Open question: how should we specify smart contracts?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9D6807A-41CA-4A71-A63C-F0BEE137E4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136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Natural Language Specifications</a:t>
            </a:r>
          </a:p>
          <a:p>
            <a:pPr lvl="1"/>
            <a:r>
              <a:rPr lang="en-AU" sz="1800" dirty="0"/>
              <a:t>Lists of Requirements</a:t>
            </a:r>
          </a:p>
          <a:p>
            <a:pPr lvl="1"/>
            <a:r>
              <a:rPr lang="en-AU" sz="1800" dirty="0"/>
              <a:t>Use Cases and Scenarios</a:t>
            </a:r>
          </a:p>
          <a:p>
            <a:pPr lvl="1"/>
            <a:endParaRPr lang="en-AU" sz="1800" dirty="0"/>
          </a:p>
          <a:p>
            <a:r>
              <a:rPr lang="en-AU" dirty="0"/>
              <a:t>Formal Specifications</a:t>
            </a:r>
          </a:p>
          <a:p>
            <a:pPr lvl="1"/>
            <a:r>
              <a:rPr lang="en-AU" sz="1800" dirty="0"/>
              <a:t>Z, Object-Z, B, Event-B, HOL</a:t>
            </a:r>
          </a:p>
          <a:p>
            <a:pPr lvl="1"/>
            <a:endParaRPr lang="en-AU" sz="1800" dirty="0"/>
          </a:p>
          <a:p>
            <a:r>
              <a:rPr lang="en-AU" dirty="0"/>
              <a:t>Models</a:t>
            </a:r>
          </a:p>
          <a:p>
            <a:pPr lvl="1"/>
            <a:r>
              <a:rPr lang="en-AU" sz="1800" dirty="0"/>
              <a:t>State Machines, Business Process Model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Specifications are Models of Requirement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2639868-38B2-41E1-A2BA-07C24D2FF98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18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082" y="1026586"/>
            <a:ext cx="2853190" cy="191304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3273" y="1733190"/>
            <a:ext cx="2453654" cy="16309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3680" y="3175269"/>
            <a:ext cx="3382592" cy="180225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1383" y="4277440"/>
            <a:ext cx="2255062" cy="104155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92756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ave you had exposure to any of these?</a:t>
            </a:r>
          </a:p>
          <a:p>
            <a:r>
              <a:rPr lang="de-DE" dirty="0"/>
              <a:t>W</a:t>
            </a:r>
            <a:r>
              <a:rPr lang="en-US" dirty="0"/>
              <a:t>hat did you lear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9D8260-3E52-4FF4-90D9-23D75F93C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19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107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01C0A15-624A-4A32-A0AB-BB33E1698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you learn?</a:t>
            </a:r>
            <a:endParaRPr lang="en-D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AA77D6-6232-4FA1-83A8-7C0732C577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pendability and Security</a:t>
            </a:r>
          </a:p>
          <a:p>
            <a:r>
              <a:rPr lang="en-US" dirty="0"/>
              <a:t>Trust and the Need for Trustworthy Applications</a:t>
            </a:r>
          </a:p>
          <a:p>
            <a:r>
              <a:rPr lang="en-US" dirty="0"/>
              <a:t>Functionality</a:t>
            </a:r>
          </a:p>
          <a:p>
            <a:r>
              <a:rPr lang="en-US" dirty="0"/>
              <a:t>Security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Reliability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561542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2" name="Straight Connector 161"/>
          <p:cNvCxnSpPr>
            <a:stCxn id="135" idx="11"/>
          </p:cNvCxnSpPr>
          <p:nvPr/>
        </p:nvCxnSpPr>
        <p:spPr>
          <a:xfrm flipV="1">
            <a:off x="6754049" y="4652246"/>
            <a:ext cx="157185" cy="52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>
            <a:off x="7195806" y="4851945"/>
            <a:ext cx="3601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" name="Picture 1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531" y="4412343"/>
            <a:ext cx="360000" cy="592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ormal Specification &amp; Ver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993" y="1284952"/>
            <a:ext cx="3565153" cy="378068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AU" i="1" dirty="0"/>
              <a:t>Program testing can be used to show the presence of bugs, but never to show their absence!</a:t>
            </a:r>
          </a:p>
          <a:p>
            <a:pPr marL="0" indent="0" algn="r">
              <a:buNone/>
            </a:pPr>
            <a:r>
              <a:rPr lang="en-AU" dirty="0"/>
              <a:t>- Dijkstra, ’60s/’70s</a:t>
            </a:r>
          </a:p>
          <a:p>
            <a:endParaRPr lang="en-AU" dirty="0"/>
          </a:p>
          <a:p>
            <a:r>
              <a:rPr lang="en-AU" dirty="0"/>
              <a:t>Formal methods is logical reasoning about all possible behaviours of software</a:t>
            </a:r>
          </a:p>
          <a:p>
            <a:pPr lvl="2"/>
            <a:endParaRPr lang="en-AU" dirty="0"/>
          </a:p>
          <a:p>
            <a:r>
              <a:rPr lang="en-AU" dirty="0"/>
              <a:t>…and is the strongest kind of evidence that software is correct</a:t>
            </a:r>
          </a:p>
          <a:p>
            <a:endParaRPr lang="en-AU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E827BB-3CA4-4215-94FC-A8646383B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0</a:t>
            </a:fld>
            <a:endParaRPr lang="en-US"/>
          </a:p>
        </p:txBody>
      </p:sp>
      <p:sp>
        <p:nvSpPr>
          <p:cNvPr id="7" name="Folded Corner 6"/>
          <p:cNvSpPr/>
          <p:nvPr/>
        </p:nvSpPr>
        <p:spPr>
          <a:xfrm flipV="1">
            <a:off x="5531958" y="3433565"/>
            <a:ext cx="432048" cy="576064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AU" sz="1800" dirty="0"/>
          </a:p>
        </p:txBody>
      </p:sp>
      <p:sp>
        <p:nvSpPr>
          <p:cNvPr id="8" name="TextBox 7"/>
          <p:cNvSpPr txBox="1"/>
          <p:nvPr/>
        </p:nvSpPr>
        <p:spPr>
          <a:xfrm>
            <a:off x="5577903" y="3569561"/>
            <a:ext cx="3417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b="1" dirty="0">
                <a:solidFill>
                  <a:schemeClr val="bg1"/>
                </a:solidFill>
              </a:rPr>
              <a:t>.c</a:t>
            </a:r>
          </a:p>
        </p:txBody>
      </p:sp>
      <p:sp>
        <p:nvSpPr>
          <p:cNvPr id="9" name="Folded Corner 8"/>
          <p:cNvSpPr/>
          <p:nvPr/>
        </p:nvSpPr>
        <p:spPr>
          <a:xfrm flipV="1">
            <a:off x="5537703" y="2065413"/>
            <a:ext cx="432048" cy="576064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AU" sz="1800" dirty="0"/>
          </a:p>
        </p:txBody>
      </p:sp>
      <p:sp>
        <p:nvSpPr>
          <p:cNvPr id="10" name="TextBox 9"/>
          <p:cNvSpPr txBox="1"/>
          <p:nvPr/>
        </p:nvSpPr>
        <p:spPr>
          <a:xfrm>
            <a:off x="5508105" y="2106063"/>
            <a:ext cx="504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400" b="1" dirty="0">
                <a:solidFill>
                  <a:schemeClr val="bg1"/>
                </a:solidFill>
              </a:rPr>
              <a:t>Lorem ipsum </a:t>
            </a:r>
            <a:r>
              <a:rPr lang="en-AU" sz="400" b="1" dirty="0" err="1">
                <a:solidFill>
                  <a:schemeClr val="bg1"/>
                </a:solidFill>
              </a:rPr>
              <a:t>dolor</a:t>
            </a:r>
            <a:r>
              <a:rPr lang="en-AU" sz="400" b="1" dirty="0">
                <a:solidFill>
                  <a:schemeClr val="bg1"/>
                </a:solidFill>
              </a:rPr>
              <a:t> sit </a:t>
            </a:r>
            <a:r>
              <a:rPr lang="en-AU" sz="400" b="1" dirty="0" err="1">
                <a:solidFill>
                  <a:schemeClr val="bg1"/>
                </a:solidFill>
              </a:rPr>
              <a:t>amet</a:t>
            </a:r>
            <a:r>
              <a:rPr lang="en-AU" sz="400" b="1" dirty="0">
                <a:solidFill>
                  <a:schemeClr val="bg1"/>
                </a:solidFill>
              </a:rPr>
              <a:t>, </a:t>
            </a:r>
            <a:r>
              <a:rPr lang="en-AU" sz="400" b="1" dirty="0" err="1">
                <a:solidFill>
                  <a:schemeClr val="bg1"/>
                </a:solidFill>
              </a:rPr>
              <a:t>consectetur</a:t>
            </a:r>
            <a:r>
              <a:rPr lang="en-AU" sz="400" b="1" dirty="0">
                <a:solidFill>
                  <a:schemeClr val="bg1"/>
                </a:solidFill>
              </a:rPr>
              <a:t> </a:t>
            </a:r>
            <a:r>
              <a:rPr lang="en-AU" sz="400" b="1" dirty="0" err="1">
                <a:solidFill>
                  <a:schemeClr val="bg1"/>
                </a:solidFill>
              </a:rPr>
              <a:t>adipiscing</a:t>
            </a:r>
            <a:r>
              <a:rPr lang="en-AU" sz="400" b="1" dirty="0">
                <a:solidFill>
                  <a:schemeClr val="bg1"/>
                </a:solidFill>
              </a:rPr>
              <a:t> </a:t>
            </a:r>
            <a:r>
              <a:rPr lang="en-AU" sz="400" b="1" dirty="0" err="1">
                <a:solidFill>
                  <a:schemeClr val="bg1"/>
                </a:solidFill>
              </a:rPr>
              <a:t>elit</a:t>
            </a:r>
            <a:r>
              <a:rPr lang="en-AU" sz="400" b="1" dirty="0">
                <a:solidFill>
                  <a:schemeClr val="bg1"/>
                </a:solidFill>
              </a:rPr>
              <a:t>, </a:t>
            </a:r>
            <a:r>
              <a:rPr lang="en-AU" sz="400" b="1" dirty="0" err="1">
                <a:solidFill>
                  <a:schemeClr val="bg1"/>
                </a:solidFill>
              </a:rPr>
              <a:t>sed</a:t>
            </a:r>
            <a:r>
              <a:rPr lang="en-AU" sz="400" b="1" dirty="0">
                <a:solidFill>
                  <a:schemeClr val="bg1"/>
                </a:solidFill>
              </a:rPr>
              <a:t> do </a:t>
            </a:r>
            <a:r>
              <a:rPr lang="en-AU" sz="400" b="1" dirty="0" err="1">
                <a:solidFill>
                  <a:schemeClr val="bg1"/>
                </a:solidFill>
              </a:rPr>
              <a:t>eiusmod</a:t>
            </a:r>
            <a:endParaRPr lang="en-AU" sz="3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6660233" y="2857501"/>
                <a:ext cx="1197572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AU" sz="1200" dirty="0">
                    <a:ea typeface="Cambria Math" panose="02040503050406030204" pitchFamily="18" charset="0"/>
                  </a:rPr>
                  <a:t>A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AU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AU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𝑄</m:t>
                    </m:r>
                    <m:d>
                      <m:dPr>
                        <m:ctrlPr>
                          <a:rPr lang="en-AU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AU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⊨</m:t>
                    </m:r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𝑅</m:t>
                    </m:r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  <m:r>
                      <a:rPr lang="en-AU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AU" sz="1200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0232" y="2571750"/>
                <a:ext cx="1197572" cy="184666"/>
              </a:xfrm>
              <a:prstGeom prst="rect">
                <a:avLst/>
              </a:prstGeom>
              <a:blipFill rotWithShape="0">
                <a:blip r:embed="rId4"/>
                <a:stretch>
                  <a:fillRect l="-8163" t="-26667" r="-4592" b="-50000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6732239" y="3661894"/>
                <a:ext cx="1159292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∀ 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 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d>
                        <m:dPr>
                          <m:ctrlPr>
                            <a:rPr lang="en-AU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AU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𝑄</m:t>
                      </m:r>
                      <m:d>
                        <m:dPr>
                          <m:ctrlPr>
                            <a:rPr lang="en-AU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AU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</m:oMath>
                  </m:oMathPara>
                </a14:m>
                <a:endParaRPr lang="en-AU" sz="1200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2239" y="3376143"/>
                <a:ext cx="1159292" cy="184666"/>
              </a:xfrm>
              <a:prstGeom prst="rect">
                <a:avLst/>
              </a:prstGeom>
              <a:blipFill rotWithShape="0">
                <a:blip r:embed="rId5"/>
                <a:stretch>
                  <a:fillRect l="-2094" b="-26667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6732240" y="2137420"/>
                <a:ext cx="1153393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∀ 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 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d>
                        <m:dPr>
                          <m:ctrlPr>
                            <a:rPr lang="en-AU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AU" sz="1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𝑅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AU" sz="12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AU" sz="1200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2240" y="1851670"/>
                <a:ext cx="1153393" cy="184666"/>
              </a:xfrm>
              <a:prstGeom prst="rect">
                <a:avLst/>
              </a:prstGeom>
              <a:blipFill rotWithShape="0">
                <a:blip r:embed="rId6"/>
                <a:stretch>
                  <a:fillRect l="-2105" t="-6667" r="-4211" b="-36667"/>
                </a:stretch>
              </a:blipFill>
            </p:spPr>
            <p:txBody>
              <a:bodyPr/>
              <a:lstStyle/>
              <a:p>
                <a:r>
                  <a:rPr lang="en-A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/>
          <p:cNvSpPr txBox="1"/>
          <p:nvPr/>
        </p:nvSpPr>
        <p:spPr>
          <a:xfrm>
            <a:off x="4862938" y="2103209"/>
            <a:ext cx="667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dirty="0">
                <a:solidFill>
                  <a:schemeClr val="accent1"/>
                </a:solidFill>
              </a:rPr>
              <a:t>spec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66434" y="3532145"/>
            <a:ext cx="639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dirty="0">
                <a:solidFill>
                  <a:schemeClr val="accent1"/>
                </a:solidFill>
              </a:rPr>
              <a:t>cod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970325" y="3523394"/>
            <a:ext cx="11219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AU" sz="1800" dirty="0">
                <a:solidFill>
                  <a:schemeClr val="accent1"/>
                </a:solidFill>
              </a:rPr>
              <a:t>code</a:t>
            </a:r>
            <a:br>
              <a:rPr lang="en-AU" sz="1800" dirty="0">
                <a:solidFill>
                  <a:schemeClr val="accent1"/>
                </a:solidFill>
              </a:rPr>
            </a:br>
            <a:r>
              <a:rPr lang="en-AU" sz="1800" dirty="0">
                <a:solidFill>
                  <a:schemeClr val="accent1"/>
                </a:solidFill>
              </a:rPr>
              <a:t>semantic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292080" y="1819205"/>
            <a:ext cx="8001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AU" sz="1800" dirty="0">
                <a:solidFill>
                  <a:schemeClr val="accent1"/>
                </a:solidFill>
              </a:rPr>
              <a:t>formal</a:t>
            </a:r>
            <a:br>
              <a:rPr lang="en-AU" sz="1800" dirty="0">
                <a:solidFill>
                  <a:schemeClr val="accent1"/>
                </a:solidFill>
              </a:rPr>
            </a:br>
            <a:r>
              <a:rPr lang="en-AU" sz="1800" dirty="0">
                <a:solidFill>
                  <a:schemeClr val="accent1"/>
                </a:solidFill>
              </a:rPr>
              <a:t>spec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59076" y="2713485"/>
            <a:ext cx="12331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AU" sz="1800" i="1" dirty="0">
                <a:solidFill>
                  <a:schemeClr val="accent1"/>
                </a:solidFill>
              </a:rPr>
              <a:t>verification</a:t>
            </a:r>
          </a:p>
          <a:p>
            <a:pPr algn="r"/>
            <a:r>
              <a:rPr lang="en-AU" sz="1800" i="1" dirty="0">
                <a:solidFill>
                  <a:schemeClr val="accent1"/>
                </a:solidFill>
              </a:rPr>
              <a:t>proof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722163" y="4280008"/>
            <a:ext cx="9281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dirty="0">
                <a:solidFill>
                  <a:schemeClr val="accent1"/>
                </a:solidFill>
              </a:rPr>
              <a:t>physical</a:t>
            </a:r>
            <a:br>
              <a:rPr lang="en-AU" sz="1800" dirty="0">
                <a:solidFill>
                  <a:schemeClr val="accent1"/>
                </a:solidFill>
              </a:rPr>
            </a:br>
            <a:r>
              <a:rPr lang="en-AU" sz="1800" dirty="0">
                <a:solidFill>
                  <a:schemeClr val="accent1"/>
                </a:solidFill>
              </a:rPr>
              <a:t>system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18152" y="1173209"/>
            <a:ext cx="10104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dirty="0">
                <a:solidFill>
                  <a:schemeClr val="accent1"/>
                </a:solidFill>
              </a:rPr>
              <a:t>real use/</a:t>
            </a:r>
            <a:br>
              <a:rPr lang="en-AU" sz="1800" dirty="0">
                <a:solidFill>
                  <a:schemeClr val="accent1"/>
                </a:solidFill>
              </a:rPr>
            </a:br>
            <a:r>
              <a:rPr lang="en-AU" sz="1800" dirty="0">
                <a:solidFill>
                  <a:schemeClr val="accent1"/>
                </a:solidFill>
              </a:rPr>
              <a:t>needs</a:t>
            </a:r>
          </a:p>
        </p:txBody>
      </p:sp>
      <p:sp>
        <p:nvSpPr>
          <p:cNvPr id="11" name="Oval 10"/>
          <p:cNvSpPr/>
          <p:nvPr/>
        </p:nvSpPr>
        <p:spPr>
          <a:xfrm>
            <a:off x="5964007" y="1219617"/>
            <a:ext cx="153793" cy="15379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cxnSp>
        <p:nvCxnSpPr>
          <p:cNvPr id="24" name="Straight Connector 23"/>
          <p:cNvCxnSpPr>
            <a:stCxn id="11" idx="4"/>
          </p:cNvCxnSpPr>
          <p:nvPr/>
        </p:nvCxnSpPr>
        <p:spPr>
          <a:xfrm flipH="1">
            <a:off x="5993440" y="1373409"/>
            <a:ext cx="47462" cy="19917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5985331" y="1572585"/>
            <a:ext cx="117270" cy="1559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H="1">
            <a:off x="6062228" y="1580383"/>
            <a:ext cx="40373" cy="19615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6025705" y="1415304"/>
            <a:ext cx="186626" cy="9155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6286026" y="1326030"/>
            <a:ext cx="212797" cy="16141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35" name="Rounded Rectangle 34"/>
          <p:cNvSpPr/>
          <p:nvPr/>
        </p:nvSpPr>
        <p:spPr>
          <a:xfrm>
            <a:off x="6305643" y="1343063"/>
            <a:ext cx="106620" cy="11801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36" name="Snip Single Corner Rectangle 35"/>
          <p:cNvSpPr/>
          <p:nvPr/>
        </p:nvSpPr>
        <p:spPr>
          <a:xfrm flipH="1">
            <a:off x="6176007" y="1493456"/>
            <a:ext cx="278479" cy="71812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grpSp>
        <p:nvGrpSpPr>
          <p:cNvPr id="54" name="Group 53"/>
          <p:cNvGrpSpPr/>
          <p:nvPr/>
        </p:nvGrpSpPr>
        <p:grpSpPr>
          <a:xfrm>
            <a:off x="6572517" y="1161087"/>
            <a:ext cx="341434" cy="574607"/>
            <a:chOff x="7210049" y="805966"/>
            <a:chExt cx="341434" cy="574607"/>
          </a:xfrm>
        </p:grpSpPr>
        <p:sp>
          <p:nvSpPr>
            <p:cNvPr id="43" name="Moon 42"/>
            <p:cNvSpPr/>
            <p:nvPr/>
          </p:nvSpPr>
          <p:spPr>
            <a:xfrm rot="1080000">
              <a:off x="7210049" y="805966"/>
              <a:ext cx="76897" cy="131445"/>
            </a:xfrm>
            <a:prstGeom prst="moon">
              <a:avLst>
                <a:gd name="adj" fmla="val 3872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44" name="Moon 43"/>
            <p:cNvSpPr/>
            <p:nvPr/>
          </p:nvSpPr>
          <p:spPr>
            <a:xfrm rot="20520000" flipH="1">
              <a:off x="7464390" y="805966"/>
              <a:ext cx="76897" cy="131445"/>
            </a:xfrm>
            <a:prstGeom prst="moon">
              <a:avLst>
                <a:gd name="adj" fmla="val 3872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42" name="Oval 41"/>
            <p:cNvSpPr/>
            <p:nvPr/>
          </p:nvSpPr>
          <p:spPr>
            <a:xfrm>
              <a:off x="7296155" y="805966"/>
              <a:ext cx="153793" cy="1537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45" name="Isosceles Triangle 44"/>
            <p:cNvSpPr/>
            <p:nvPr/>
          </p:nvSpPr>
          <p:spPr>
            <a:xfrm>
              <a:off x="7279933" y="978385"/>
              <a:ext cx="223285" cy="27638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7333522" y="1258107"/>
              <a:ext cx="4518" cy="12246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7433714" y="1254773"/>
              <a:ext cx="4518" cy="12246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H="1" flipV="1">
              <a:off x="7237270" y="1049337"/>
              <a:ext cx="117769" cy="3846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V="1">
              <a:off x="7433714" y="1042426"/>
              <a:ext cx="117769" cy="3846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6" name="Straight Arrow Connector 55"/>
          <p:cNvCxnSpPr/>
          <p:nvPr/>
        </p:nvCxnSpPr>
        <p:spPr>
          <a:xfrm>
            <a:off x="5747982" y="2703760"/>
            <a:ext cx="12150" cy="61798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/>
          <p:nvPr/>
        </p:nvCxnSpPr>
        <p:spPr>
          <a:xfrm>
            <a:off x="5788517" y="4097425"/>
            <a:ext cx="410280" cy="22912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V="1">
            <a:off x="5768377" y="1818033"/>
            <a:ext cx="435471" cy="1578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H="1">
            <a:off x="6161471" y="2246302"/>
            <a:ext cx="43561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 flipH="1">
            <a:off x="6126084" y="3782032"/>
            <a:ext cx="43561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 flipH="1" flipV="1">
            <a:off x="7242706" y="3175292"/>
            <a:ext cx="10230" cy="40228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 flipH="1" flipV="1">
            <a:off x="7232476" y="2425452"/>
            <a:ext cx="10230" cy="40228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6525988" y="1817691"/>
            <a:ext cx="481317" cy="21242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4"/>
          <p:cNvGrpSpPr>
            <a:grpSpLocks noChangeAspect="1"/>
          </p:cNvGrpSpPr>
          <p:nvPr/>
        </p:nvGrpSpPr>
        <p:grpSpPr bwMode="auto">
          <a:xfrm>
            <a:off x="6151141" y="4458022"/>
            <a:ext cx="623861" cy="472016"/>
            <a:chOff x="3839" y="1678"/>
            <a:chExt cx="530" cy="401"/>
          </a:xfrm>
        </p:grpSpPr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5" name="Freeform 94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1" name="Freeform 100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2" name="Freeform 101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4" name="Freeform 113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6" name="Freeform 115"/>
            <p:cNvSpPr>
              <a:spLocks noEditPoints="1"/>
            </p:cNvSpPr>
            <p:nvPr/>
          </p:nvSpPr>
          <p:spPr bwMode="auto">
            <a:xfrm>
              <a:off x="3921" y="1743"/>
              <a:ext cx="105" cy="60"/>
            </a:xfrm>
            <a:custGeom>
              <a:avLst/>
              <a:gdLst>
                <a:gd name="T0" fmla="*/ 0 w 489"/>
                <a:gd name="T1" fmla="*/ 0 h 280"/>
                <a:gd name="T2" fmla="*/ 0 w 489"/>
                <a:gd name="T3" fmla="*/ 0 h 280"/>
                <a:gd name="T4" fmla="*/ 46 w 489"/>
                <a:gd name="T5" fmla="*/ 27 h 280"/>
                <a:gd name="T6" fmla="*/ 92 w 489"/>
                <a:gd name="T7" fmla="*/ 53 h 280"/>
                <a:gd name="T8" fmla="*/ 92 w 489"/>
                <a:gd name="T9" fmla="*/ 53 h 280"/>
                <a:gd name="T10" fmla="*/ 138 w 489"/>
                <a:gd name="T11" fmla="*/ 80 h 280"/>
                <a:gd name="T12" fmla="*/ 185 w 489"/>
                <a:gd name="T13" fmla="*/ 106 h 280"/>
                <a:gd name="T14" fmla="*/ 185 w 489"/>
                <a:gd name="T15" fmla="*/ 106 h 280"/>
                <a:gd name="T16" fmla="*/ 231 w 489"/>
                <a:gd name="T17" fmla="*/ 133 h 280"/>
                <a:gd name="T18" fmla="*/ 277 w 489"/>
                <a:gd name="T19" fmla="*/ 159 h 280"/>
                <a:gd name="T20" fmla="*/ 277 w 489"/>
                <a:gd name="T21" fmla="*/ 159 h 280"/>
                <a:gd name="T22" fmla="*/ 324 w 489"/>
                <a:gd name="T23" fmla="*/ 186 h 280"/>
                <a:gd name="T24" fmla="*/ 370 w 489"/>
                <a:gd name="T25" fmla="*/ 212 h 280"/>
                <a:gd name="T26" fmla="*/ 370 w 489"/>
                <a:gd name="T27" fmla="*/ 212 h 280"/>
                <a:gd name="T28" fmla="*/ 416 w 489"/>
                <a:gd name="T29" fmla="*/ 239 h 280"/>
                <a:gd name="T30" fmla="*/ 462 w 489"/>
                <a:gd name="T31" fmla="*/ 265 h 280"/>
                <a:gd name="T32" fmla="*/ 462 w 489"/>
                <a:gd name="T33" fmla="*/ 265 h 280"/>
                <a:gd name="T34" fmla="*/ 489 w 489"/>
                <a:gd name="T3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" h="280">
                  <a:moveTo>
                    <a:pt x="0" y="0"/>
                  </a:moveTo>
                  <a:lnTo>
                    <a:pt x="0" y="0"/>
                  </a:lnTo>
                  <a:lnTo>
                    <a:pt x="46" y="27"/>
                  </a:lnTo>
                  <a:moveTo>
                    <a:pt x="92" y="53"/>
                  </a:moveTo>
                  <a:lnTo>
                    <a:pt x="92" y="53"/>
                  </a:lnTo>
                  <a:lnTo>
                    <a:pt x="138" y="80"/>
                  </a:lnTo>
                  <a:moveTo>
                    <a:pt x="185" y="106"/>
                  </a:moveTo>
                  <a:lnTo>
                    <a:pt x="185" y="106"/>
                  </a:lnTo>
                  <a:lnTo>
                    <a:pt x="231" y="133"/>
                  </a:lnTo>
                  <a:moveTo>
                    <a:pt x="277" y="159"/>
                  </a:moveTo>
                  <a:lnTo>
                    <a:pt x="277" y="159"/>
                  </a:lnTo>
                  <a:lnTo>
                    <a:pt x="324" y="186"/>
                  </a:lnTo>
                  <a:moveTo>
                    <a:pt x="370" y="212"/>
                  </a:moveTo>
                  <a:lnTo>
                    <a:pt x="370" y="212"/>
                  </a:lnTo>
                  <a:lnTo>
                    <a:pt x="416" y="239"/>
                  </a:lnTo>
                  <a:moveTo>
                    <a:pt x="462" y="265"/>
                  </a:moveTo>
                  <a:lnTo>
                    <a:pt x="462" y="265"/>
                  </a:lnTo>
                  <a:lnTo>
                    <a:pt x="489" y="28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7" name="Freeform 116"/>
            <p:cNvSpPr>
              <a:spLocks noEditPoints="1"/>
            </p:cNvSpPr>
            <p:nvPr/>
          </p:nvSpPr>
          <p:spPr bwMode="auto">
            <a:xfrm>
              <a:off x="4050" y="1775"/>
              <a:ext cx="116" cy="33"/>
            </a:xfrm>
            <a:custGeom>
              <a:avLst/>
              <a:gdLst>
                <a:gd name="T0" fmla="*/ 544 w 544"/>
                <a:gd name="T1" fmla="*/ 0 h 159"/>
                <a:gd name="T2" fmla="*/ 544 w 544"/>
                <a:gd name="T3" fmla="*/ 0 h 159"/>
                <a:gd name="T4" fmla="*/ 493 w 544"/>
                <a:gd name="T5" fmla="*/ 15 h 159"/>
                <a:gd name="T6" fmla="*/ 441 w 544"/>
                <a:gd name="T7" fmla="*/ 30 h 159"/>
                <a:gd name="T8" fmla="*/ 441 w 544"/>
                <a:gd name="T9" fmla="*/ 30 h 159"/>
                <a:gd name="T10" fmla="*/ 390 w 544"/>
                <a:gd name="T11" fmla="*/ 45 h 159"/>
                <a:gd name="T12" fmla="*/ 339 w 544"/>
                <a:gd name="T13" fmla="*/ 60 h 159"/>
                <a:gd name="T14" fmla="*/ 339 w 544"/>
                <a:gd name="T15" fmla="*/ 60 h 159"/>
                <a:gd name="T16" fmla="*/ 288 w 544"/>
                <a:gd name="T17" fmla="*/ 75 h 159"/>
                <a:gd name="T18" fmla="*/ 237 w 544"/>
                <a:gd name="T19" fmla="*/ 90 h 159"/>
                <a:gd name="T20" fmla="*/ 237 w 544"/>
                <a:gd name="T21" fmla="*/ 90 h 159"/>
                <a:gd name="T22" fmla="*/ 185 w 544"/>
                <a:gd name="T23" fmla="*/ 105 h 159"/>
                <a:gd name="T24" fmla="*/ 134 w 544"/>
                <a:gd name="T25" fmla="*/ 120 h 159"/>
                <a:gd name="T26" fmla="*/ 134 w 544"/>
                <a:gd name="T27" fmla="*/ 120 h 159"/>
                <a:gd name="T28" fmla="*/ 83 w 544"/>
                <a:gd name="T29" fmla="*/ 135 h 159"/>
                <a:gd name="T30" fmla="*/ 32 w 544"/>
                <a:gd name="T31" fmla="*/ 150 h 159"/>
                <a:gd name="T32" fmla="*/ 32 w 544"/>
                <a:gd name="T33" fmla="*/ 150 h 159"/>
                <a:gd name="T34" fmla="*/ 0 w 544"/>
                <a:gd name="T3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4" h="159">
                  <a:moveTo>
                    <a:pt x="544" y="0"/>
                  </a:moveTo>
                  <a:lnTo>
                    <a:pt x="544" y="0"/>
                  </a:lnTo>
                  <a:lnTo>
                    <a:pt x="493" y="15"/>
                  </a:lnTo>
                  <a:moveTo>
                    <a:pt x="441" y="30"/>
                  </a:moveTo>
                  <a:lnTo>
                    <a:pt x="441" y="30"/>
                  </a:lnTo>
                  <a:lnTo>
                    <a:pt x="390" y="45"/>
                  </a:lnTo>
                  <a:moveTo>
                    <a:pt x="339" y="60"/>
                  </a:moveTo>
                  <a:lnTo>
                    <a:pt x="339" y="60"/>
                  </a:lnTo>
                  <a:lnTo>
                    <a:pt x="288" y="75"/>
                  </a:lnTo>
                  <a:moveTo>
                    <a:pt x="237" y="90"/>
                  </a:moveTo>
                  <a:lnTo>
                    <a:pt x="237" y="90"/>
                  </a:lnTo>
                  <a:lnTo>
                    <a:pt x="185" y="105"/>
                  </a:lnTo>
                  <a:moveTo>
                    <a:pt x="134" y="120"/>
                  </a:moveTo>
                  <a:lnTo>
                    <a:pt x="134" y="120"/>
                  </a:lnTo>
                  <a:lnTo>
                    <a:pt x="83" y="135"/>
                  </a:lnTo>
                  <a:moveTo>
                    <a:pt x="32" y="150"/>
                  </a:moveTo>
                  <a:lnTo>
                    <a:pt x="32" y="150"/>
                  </a:lnTo>
                  <a:lnTo>
                    <a:pt x="0" y="159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8" name="Freeform 117"/>
            <p:cNvSpPr>
              <a:spLocks noEditPoints="1"/>
            </p:cNvSpPr>
            <p:nvPr/>
          </p:nvSpPr>
          <p:spPr bwMode="auto">
            <a:xfrm>
              <a:off x="3865" y="1814"/>
              <a:ext cx="161" cy="26"/>
            </a:xfrm>
            <a:custGeom>
              <a:avLst/>
              <a:gdLst>
                <a:gd name="T0" fmla="*/ 755 w 755"/>
                <a:gd name="T1" fmla="*/ 0 h 121"/>
                <a:gd name="T2" fmla="*/ 755 w 755"/>
                <a:gd name="T3" fmla="*/ 0 h 121"/>
                <a:gd name="T4" fmla="*/ 702 w 755"/>
                <a:gd name="T5" fmla="*/ 8 h 121"/>
                <a:gd name="T6" fmla="*/ 650 w 755"/>
                <a:gd name="T7" fmla="*/ 17 h 121"/>
                <a:gd name="T8" fmla="*/ 650 w 755"/>
                <a:gd name="T9" fmla="*/ 17 h 121"/>
                <a:gd name="T10" fmla="*/ 597 w 755"/>
                <a:gd name="T11" fmla="*/ 25 h 121"/>
                <a:gd name="T12" fmla="*/ 544 w 755"/>
                <a:gd name="T13" fmla="*/ 34 h 121"/>
                <a:gd name="T14" fmla="*/ 544 w 755"/>
                <a:gd name="T15" fmla="*/ 34 h 121"/>
                <a:gd name="T16" fmla="*/ 492 w 755"/>
                <a:gd name="T17" fmla="*/ 42 h 121"/>
                <a:gd name="T18" fmla="*/ 439 w 755"/>
                <a:gd name="T19" fmla="*/ 51 h 121"/>
                <a:gd name="T20" fmla="*/ 439 w 755"/>
                <a:gd name="T21" fmla="*/ 51 h 121"/>
                <a:gd name="T22" fmla="*/ 386 w 755"/>
                <a:gd name="T23" fmla="*/ 59 h 121"/>
                <a:gd name="T24" fmla="*/ 334 w 755"/>
                <a:gd name="T25" fmla="*/ 67 h 121"/>
                <a:gd name="T26" fmla="*/ 334 w 755"/>
                <a:gd name="T27" fmla="*/ 67 h 121"/>
                <a:gd name="T28" fmla="*/ 281 w 755"/>
                <a:gd name="T29" fmla="*/ 76 h 121"/>
                <a:gd name="T30" fmla="*/ 229 w 755"/>
                <a:gd name="T31" fmla="*/ 84 h 121"/>
                <a:gd name="T32" fmla="*/ 229 w 755"/>
                <a:gd name="T33" fmla="*/ 84 h 121"/>
                <a:gd name="T34" fmla="*/ 176 w 755"/>
                <a:gd name="T35" fmla="*/ 93 h 121"/>
                <a:gd name="T36" fmla="*/ 123 w 755"/>
                <a:gd name="T37" fmla="*/ 101 h 121"/>
                <a:gd name="T38" fmla="*/ 123 w 755"/>
                <a:gd name="T39" fmla="*/ 101 h 121"/>
                <a:gd name="T40" fmla="*/ 71 w 755"/>
                <a:gd name="T41" fmla="*/ 110 h 121"/>
                <a:gd name="T42" fmla="*/ 18 w 755"/>
                <a:gd name="T43" fmla="*/ 118 h 121"/>
                <a:gd name="T44" fmla="*/ 18 w 755"/>
                <a:gd name="T45" fmla="*/ 118 h 121"/>
                <a:gd name="T46" fmla="*/ 0 w 755"/>
                <a:gd name="T4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5" h="121">
                  <a:moveTo>
                    <a:pt x="755" y="0"/>
                  </a:moveTo>
                  <a:lnTo>
                    <a:pt x="755" y="0"/>
                  </a:lnTo>
                  <a:lnTo>
                    <a:pt x="702" y="8"/>
                  </a:lnTo>
                  <a:moveTo>
                    <a:pt x="650" y="17"/>
                  </a:moveTo>
                  <a:lnTo>
                    <a:pt x="650" y="17"/>
                  </a:lnTo>
                  <a:lnTo>
                    <a:pt x="597" y="25"/>
                  </a:lnTo>
                  <a:moveTo>
                    <a:pt x="544" y="34"/>
                  </a:moveTo>
                  <a:lnTo>
                    <a:pt x="544" y="34"/>
                  </a:lnTo>
                  <a:lnTo>
                    <a:pt x="492" y="42"/>
                  </a:lnTo>
                  <a:moveTo>
                    <a:pt x="439" y="51"/>
                  </a:moveTo>
                  <a:lnTo>
                    <a:pt x="439" y="51"/>
                  </a:lnTo>
                  <a:lnTo>
                    <a:pt x="386" y="59"/>
                  </a:lnTo>
                  <a:moveTo>
                    <a:pt x="334" y="67"/>
                  </a:moveTo>
                  <a:lnTo>
                    <a:pt x="334" y="67"/>
                  </a:lnTo>
                  <a:lnTo>
                    <a:pt x="281" y="76"/>
                  </a:lnTo>
                  <a:moveTo>
                    <a:pt x="229" y="84"/>
                  </a:moveTo>
                  <a:lnTo>
                    <a:pt x="229" y="84"/>
                  </a:lnTo>
                  <a:lnTo>
                    <a:pt x="176" y="93"/>
                  </a:lnTo>
                  <a:moveTo>
                    <a:pt x="123" y="101"/>
                  </a:moveTo>
                  <a:lnTo>
                    <a:pt x="123" y="101"/>
                  </a:lnTo>
                  <a:lnTo>
                    <a:pt x="71" y="110"/>
                  </a:lnTo>
                  <a:moveTo>
                    <a:pt x="18" y="118"/>
                  </a:moveTo>
                  <a:lnTo>
                    <a:pt x="18" y="118"/>
                  </a:lnTo>
                  <a:lnTo>
                    <a:pt x="0" y="121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19" name="Freeform 118"/>
            <p:cNvSpPr>
              <a:spLocks noEditPoints="1"/>
            </p:cNvSpPr>
            <p:nvPr/>
          </p:nvSpPr>
          <p:spPr bwMode="auto">
            <a:xfrm>
              <a:off x="3999" y="1820"/>
              <a:ext cx="32" cy="73"/>
            </a:xfrm>
            <a:custGeom>
              <a:avLst/>
              <a:gdLst>
                <a:gd name="T0" fmla="*/ 150 w 150"/>
                <a:gd name="T1" fmla="*/ 0 h 342"/>
                <a:gd name="T2" fmla="*/ 150 w 150"/>
                <a:gd name="T3" fmla="*/ 0 h 342"/>
                <a:gd name="T4" fmla="*/ 128 w 150"/>
                <a:gd name="T5" fmla="*/ 49 h 342"/>
                <a:gd name="T6" fmla="*/ 107 w 150"/>
                <a:gd name="T7" fmla="*/ 98 h 342"/>
                <a:gd name="T8" fmla="*/ 107 w 150"/>
                <a:gd name="T9" fmla="*/ 98 h 342"/>
                <a:gd name="T10" fmla="*/ 86 w 150"/>
                <a:gd name="T11" fmla="*/ 147 h 342"/>
                <a:gd name="T12" fmla="*/ 64 w 150"/>
                <a:gd name="T13" fmla="*/ 196 h 342"/>
                <a:gd name="T14" fmla="*/ 64 w 150"/>
                <a:gd name="T15" fmla="*/ 196 h 342"/>
                <a:gd name="T16" fmla="*/ 43 w 150"/>
                <a:gd name="T17" fmla="*/ 245 h 342"/>
                <a:gd name="T18" fmla="*/ 21 w 150"/>
                <a:gd name="T19" fmla="*/ 293 h 342"/>
                <a:gd name="T20" fmla="*/ 21 w 150"/>
                <a:gd name="T21" fmla="*/ 293 h 342"/>
                <a:gd name="T22" fmla="*/ 0 w 150"/>
                <a:gd name="T23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342">
                  <a:moveTo>
                    <a:pt x="150" y="0"/>
                  </a:moveTo>
                  <a:lnTo>
                    <a:pt x="150" y="0"/>
                  </a:lnTo>
                  <a:lnTo>
                    <a:pt x="128" y="49"/>
                  </a:lnTo>
                  <a:moveTo>
                    <a:pt x="107" y="98"/>
                  </a:moveTo>
                  <a:lnTo>
                    <a:pt x="107" y="98"/>
                  </a:lnTo>
                  <a:lnTo>
                    <a:pt x="86" y="147"/>
                  </a:lnTo>
                  <a:moveTo>
                    <a:pt x="64" y="196"/>
                  </a:moveTo>
                  <a:lnTo>
                    <a:pt x="64" y="196"/>
                  </a:lnTo>
                  <a:lnTo>
                    <a:pt x="43" y="245"/>
                  </a:lnTo>
                  <a:moveTo>
                    <a:pt x="21" y="293"/>
                  </a:moveTo>
                  <a:lnTo>
                    <a:pt x="21" y="293"/>
                  </a:lnTo>
                  <a:lnTo>
                    <a:pt x="0" y="342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0" name="Freeform 119"/>
            <p:cNvSpPr>
              <a:spLocks noEditPoints="1"/>
            </p:cNvSpPr>
            <p:nvPr/>
          </p:nvSpPr>
          <p:spPr bwMode="auto">
            <a:xfrm>
              <a:off x="3859" y="1749"/>
              <a:ext cx="45" cy="85"/>
            </a:xfrm>
            <a:custGeom>
              <a:avLst/>
              <a:gdLst>
                <a:gd name="T0" fmla="*/ 0 w 209"/>
                <a:gd name="T1" fmla="*/ 401 h 401"/>
                <a:gd name="T2" fmla="*/ 0 w 209"/>
                <a:gd name="T3" fmla="*/ 401 h 401"/>
                <a:gd name="T4" fmla="*/ 25 w 209"/>
                <a:gd name="T5" fmla="*/ 354 h 401"/>
                <a:gd name="T6" fmla="*/ 49 w 209"/>
                <a:gd name="T7" fmla="*/ 307 h 401"/>
                <a:gd name="T8" fmla="*/ 49 w 209"/>
                <a:gd name="T9" fmla="*/ 307 h 401"/>
                <a:gd name="T10" fmla="*/ 74 w 209"/>
                <a:gd name="T11" fmla="*/ 259 h 401"/>
                <a:gd name="T12" fmla="*/ 99 w 209"/>
                <a:gd name="T13" fmla="*/ 212 h 401"/>
                <a:gd name="T14" fmla="*/ 99 w 209"/>
                <a:gd name="T15" fmla="*/ 212 h 401"/>
                <a:gd name="T16" fmla="*/ 123 w 209"/>
                <a:gd name="T17" fmla="*/ 165 h 401"/>
                <a:gd name="T18" fmla="*/ 148 w 209"/>
                <a:gd name="T19" fmla="*/ 117 h 401"/>
                <a:gd name="T20" fmla="*/ 148 w 209"/>
                <a:gd name="T21" fmla="*/ 117 h 401"/>
                <a:gd name="T22" fmla="*/ 172 w 209"/>
                <a:gd name="T23" fmla="*/ 70 h 401"/>
                <a:gd name="T24" fmla="*/ 197 w 209"/>
                <a:gd name="T25" fmla="*/ 23 h 401"/>
                <a:gd name="T26" fmla="*/ 197 w 209"/>
                <a:gd name="T27" fmla="*/ 23 h 401"/>
                <a:gd name="T28" fmla="*/ 209 w 209"/>
                <a:gd name="T29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401">
                  <a:moveTo>
                    <a:pt x="0" y="401"/>
                  </a:moveTo>
                  <a:lnTo>
                    <a:pt x="0" y="401"/>
                  </a:lnTo>
                  <a:lnTo>
                    <a:pt x="25" y="354"/>
                  </a:lnTo>
                  <a:moveTo>
                    <a:pt x="49" y="307"/>
                  </a:moveTo>
                  <a:lnTo>
                    <a:pt x="49" y="307"/>
                  </a:lnTo>
                  <a:lnTo>
                    <a:pt x="74" y="259"/>
                  </a:lnTo>
                  <a:moveTo>
                    <a:pt x="99" y="212"/>
                  </a:moveTo>
                  <a:lnTo>
                    <a:pt x="99" y="212"/>
                  </a:lnTo>
                  <a:lnTo>
                    <a:pt x="123" y="165"/>
                  </a:lnTo>
                  <a:moveTo>
                    <a:pt x="148" y="117"/>
                  </a:moveTo>
                  <a:lnTo>
                    <a:pt x="148" y="117"/>
                  </a:lnTo>
                  <a:lnTo>
                    <a:pt x="172" y="70"/>
                  </a:lnTo>
                  <a:moveTo>
                    <a:pt x="197" y="23"/>
                  </a:moveTo>
                  <a:lnTo>
                    <a:pt x="197" y="23"/>
                  </a:lnTo>
                  <a:lnTo>
                    <a:pt x="209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1" name="Freeform 120"/>
            <p:cNvSpPr>
              <a:spLocks noEditPoints="1"/>
            </p:cNvSpPr>
            <p:nvPr/>
          </p:nvSpPr>
          <p:spPr bwMode="auto">
            <a:xfrm>
              <a:off x="3916" y="1749"/>
              <a:ext cx="70" cy="145"/>
            </a:xfrm>
            <a:custGeom>
              <a:avLst/>
              <a:gdLst>
                <a:gd name="T0" fmla="*/ 328 w 328"/>
                <a:gd name="T1" fmla="*/ 682 h 682"/>
                <a:gd name="T2" fmla="*/ 328 w 328"/>
                <a:gd name="T3" fmla="*/ 682 h 682"/>
                <a:gd name="T4" fmla="*/ 305 w 328"/>
                <a:gd name="T5" fmla="*/ 634 h 682"/>
                <a:gd name="T6" fmla="*/ 282 w 328"/>
                <a:gd name="T7" fmla="*/ 586 h 682"/>
                <a:gd name="T8" fmla="*/ 282 w 328"/>
                <a:gd name="T9" fmla="*/ 586 h 682"/>
                <a:gd name="T10" fmla="*/ 259 w 328"/>
                <a:gd name="T11" fmla="*/ 538 h 682"/>
                <a:gd name="T12" fmla="*/ 236 w 328"/>
                <a:gd name="T13" fmla="*/ 490 h 682"/>
                <a:gd name="T14" fmla="*/ 236 w 328"/>
                <a:gd name="T15" fmla="*/ 490 h 682"/>
                <a:gd name="T16" fmla="*/ 213 w 328"/>
                <a:gd name="T17" fmla="*/ 442 h 682"/>
                <a:gd name="T18" fmla="*/ 189 w 328"/>
                <a:gd name="T19" fmla="*/ 394 h 682"/>
                <a:gd name="T20" fmla="*/ 189 w 328"/>
                <a:gd name="T21" fmla="*/ 394 h 682"/>
                <a:gd name="T22" fmla="*/ 166 w 328"/>
                <a:gd name="T23" fmla="*/ 346 h 682"/>
                <a:gd name="T24" fmla="*/ 143 w 328"/>
                <a:gd name="T25" fmla="*/ 298 h 682"/>
                <a:gd name="T26" fmla="*/ 143 w 328"/>
                <a:gd name="T27" fmla="*/ 298 h 682"/>
                <a:gd name="T28" fmla="*/ 120 w 328"/>
                <a:gd name="T29" fmla="*/ 250 h 682"/>
                <a:gd name="T30" fmla="*/ 97 w 328"/>
                <a:gd name="T31" fmla="*/ 202 h 682"/>
                <a:gd name="T32" fmla="*/ 97 w 328"/>
                <a:gd name="T33" fmla="*/ 202 h 682"/>
                <a:gd name="T34" fmla="*/ 74 w 328"/>
                <a:gd name="T35" fmla="*/ 154 h 682"/>
                <a:gd name="T36" fmla="*/ 51 w 328"/>
                <a:gd name="T37" fmla="*/ 105 h 682"/>
                <a:gd name="T38" fmla="*/ 51 w 328"/>
                <a:gd name="T39" fmla="*/ 105 h 682"/>
                <a:gd name="T40" fmla="*/ 28 w 328"/>
                <a:gd name="T41" fmla="*/ 57 h 682"/>
                <a:gd name="T42" fmla="*/ 4 w 328"/>
                <a:gd name="T43" fmla="*/ 9 h 682"/>
                <a:gd name="T44" fmla="*/ 4 w 328"/>
                <a:gd name="T45" fmla="*/ 9 h 682"/>
                <a:gd name="T46" fmla="*/ 0 w 328"/>
                <a:gd name="T4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8" h="682">
                  <a:moveTo>
                    <a:pt x="328" y="682"/>
                  </a:moveTo>
                  <a:lnTo>
                    <a:pt x="328" y="682"/>
                  </a:lnTo>
                  <a:lnTo>
                    <a:pt x="305" y="634"/>
                  </a:lnTo>
                  <a:moveTo>
                    <a:pt x="282" y="586"/>
                  </a:moveTo>
                  <a:lnTo>
                    <a:pt x="282" y="586"/>
                  </a:lnTo>
                  <a:lnTo>
                    <a:pt x="259" y="538"/>
                  </a:lnTo>
                  <a:moveTo>
                    <a:pt x="236" y="490"/>
                  </a:moveTo>
                  <a:lnTo>
                    <a:pt x="236" y="490"/>
                  </a:lnTo>
                  <a:lnTo>
                    <a:pt x="213" y="442"/>
                  </a:lnTo>
                  <a:moveTo>
                    <a:pt x="189" y="394"/>
                  </a:moveTo>
                  <a:lnTo>
                    <a:pt x="189" y="394"/>
                  </a:lnTo>
                  <a:lnTo>
                    <a:pt x="166" y="346"/>
                  </a:lnTo>
                  <a:moveTo>
                    <a:pt x="143" y="298"/>
                  </a:moveTo>
                  <a:lnTo>
                    <a:pt x="143" y="298"/>
                  </a:lnTo>
                  <a:lnTo>
                    <a:pt x="120" y="250"/>
                  </a:lnTo>
                  <a:moveTo>
                    <a:pt x="97" y="202"/>
                  </a:moveTo>
                  <a:lnTo>
                    <a:pt x="97" y="202"/>
                  </a:lnTo>
                  <a:lnTo>
                    <a:pt x="74" y="154"/>
                  </a:lnTo>
                  <a:moveTo>
                    <a:pt x="51" y="105"/>
                  </a:moveTo>
                  <a:lnTo>
                    <a:pt x="51" y="105"/>
                  </a:lnTo>
                  <a:lnTo>
                    <a:pt x="28" y="57"/>
                  </a:lnTo>
                  <a:moveTo>
                    <a:pt x="4" y="9"/>
                  </a:moveTo>
                  <a:lnTo>
                    <a:pt x="4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2" name="Freeform 121"/>
            <p:cNvSpPr>
              <a:spLocks noEditPoints="1"/>
            </p:cNvSpPr>
            <p:nvPr/>
          </p:nvSpPr>
          <p:spPr bwMode="auto">
            <a:xfrm>
              <a:off x="3872" y="1847"/>
              <a:ext cx="258" cy="44"/>
            </a:xfrm>
            <a:custGeom>
              <a:avLst/>
              <a:gdLst>
                <a:gd name="T0" fmla="*/ 1209 w 1209"/>
                <a:gd name="T1" fmla="*/ 208 h 208"/>
                <a:gd name="T2" fmla="*/ 1209 w 1209"/>
                <a:gd name="T3" fmla="*/ 208 h 208"/>
                <a:gd name="T4" fmla="*/ 1156 w 1209"/>
                <a:gd name="T5" fmla="*/ 198 h 208"/>
                <a:gd name="T6" fmla="*/ 1104 w 1209"/>
                <a:gd name="T7" fmla="*/ 189 h 208"/>
                <a:gd name="T8" fmla="*/ 1104 w 1209"/>
                <a:gd name="T9" fmla="*/ 189 h 208"/>
                <a:gd name="T10" fmla="*/ 1051 w 1209"/>
                <a:gd name="T11" fmla="*/ 180 h 208"/>
                <a:gd name="T12" fmla="*/ 999 w 1209"/>
                <a:gd name="T13" fmla="*/ 171 h 208"/>
                <a:gd name="T14" fmla="*/ 999 w 1209"/>
                <a:gd name="T15" fmla="*/ 171 h 208"/>
                <a:gd name="T16" fmla="*/ 946 w 1209"/>
                <a:gd name="T17" fmla="*/ 162 h 208"/>
                <a:gd name="T18" fmla="*/ 893 w 1209"/>
                <a:gd name="T19" fmla="*/ 153 h 208"/>
                <a:gd name="T20" fmla="*/ 893 w 1209"/>
                <a:gd name="T21" fmla="*/ 153 h 208"/>
                <a:gd name="T22" fmla="*/ 841 w 1209"/>
                <a:gd name="T23" fmla="*/ 144 h 208"/>
                <a:gd name="T24" fmla="*/ 788 w 1209"/>
                <a:gd name="T25" fmla="*/ 135 h 208"/>
                <a:gd name="T26" fmla="*/ 788 w 1209"/>
                <a:gd name="T27" fmla="*/ 135 h 208"/>
                <a:gd name="T28" fmla="*/ 736 w 1209"/>
                <a:gd name="T29" fmla="*/ 126 h 208"/>
                <a:gd name="T30" fmla="*/ 683 w 1209"/>
                <a:gd name="T31" fmla="*/ 117 h 208"/>
                <a:gd name="T32" fmla="*/ 683 w 1209"/>
                <a:gd name="T33" fmla="*/ 117 h 208"/>
                <a:gd name="T34" fmla="*/ 631 w 1209"/>
                <a:gd name="T35" fmla="*/ 108 h 208"/>
                <a:gd name="T36" fmla="*/ 578 w 1209"/>
                <a:gd name="T37" fmla="*/ 99 h 208"/>
                <a:gd name="T38" fmla="*/ 578 w 1209"/>
                <a:gd name="T39" fmla="*/ 99 h 208"/>
                <a:gd name="T40" fmla="*/ 526 w 1209"/>
                <a:gd name="T41" fmla="*/ 90 h 208"/>
                <a:gd name="T42" fmla="*/ 473 w 1209"/>
                <a:gd name="T43" fmla="*/ 81 h 208"/>
                <a:gd name="T44" fmla="*/ 473 w 1209"/>
                <a:gd name="T45" fmla="*/ 81 h 208"/>
                <a:gd name="T46" fmla="*/ 420 w 1209"/>
                <a:gd name="T47" fmla="*/ 72 h 208"/>
                <a:gd name="T48" fmla="*/ 368 w 1209"/>
                <a:gd name="T49" fmla="*/ 63 h 208"/>
                <a:gd name="T50" fmla="*/ 368 w 1209"/>
                <a:gd name="T51" fmla="*/ 63 h 208"/>
                <a:gd name="T52" fmla="*/ 315 w 1209"/>
                <a:gd name="T53" fmla="*/ 54 h 208"/>
                <a:gd name="T54" fmla="*/ 263 w 1209"/>
                <a:gd name="T55" fmla="*/ 45 h 208"/>
                <a:gd name="T56" fmla="*/ 263 w 1209"/>
                <a:gd name="T57" fmla="*/ 45 h 208"/>
                <a:gd name="T58" fmla="*/ 210 w 1209"/>
                <a:gd name="T59" fmla="*/ 36 h 208"/>
                <a:gd name="T60" fmla="*/ 158 w 1209"/>
                <a:gd name="T61" fmla="*/ 27 h 208"/>
                <a:gd name="T62" fmla="*/ 158 w 1209"/>
                <a:gd name="T63" fmla="*/ 27 h 208"/>
                <a:gd name="T64" fmla="*/ 105 w 1209"/>
                <a:gd name="T65" fmla="*/ 18 h 208"/>
                <a:gd name="T66" fmla="*/ 52 w 1209"/>
                <a:gd name="T67" fmla="*/ 9 h 208"/>
                <a:gd name="T68" fmla="*/ 52 w 1209"/>
                <a:gd name="T69" fmla="*/ 9 h 208"/>
                <a:gd name="T70" fmla="*/ 0 w 1209"/>
                <a:gd name="T7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09" h="208">
                  <a:moveTo>
                    <a:pt x="1209" y="208"/>
                  </a:moveTo>
                  <a:lnTo>
                    <a:pt x="1209" y="208"/>
                  </a:lnTo>
                  <a:lnTo>
                    <a:pt x="1156" y="198"/>
                  </a:lnTo>
                  <a:moveTo>
                    <a:pt x="1104" y="189"/>
                  </a:moveTo>
                  <a:lnTo>
                    <a:pt x="1104" y="189"/>
                  </a:lnTo>
                  <a:lnTo>
                    <a:pt x="1051" y="180"/>
                  </a:lnTo>
                  <a:moveTo>
                    <a:pt x="999" y="171"/>
                  </a:moveTo>
                  <a:lnTo>
                    <a:pt x="999" y="171"/>
                  </a:lnTo>
                  <a:lnTo>
                    <a:pt x="946" y="162"/>
                  </a:lnTo>
                  <a:moveTo>
                    <a:pt x="893" y="153"/>
                  </a:moveTo>
                  <a:lnTo>
                    <a:pt x="893" y="153"/>
                  </a:lnTo>
                  <a:lnTo>
                    <a:pt x="841" y="144"/>
                  </a:lnTo>
                  <a:moveTo>
                    <a:pt x="788" y="135"/>
                  </a:moveTo>
                  <a:lnTo>
                    <a:pt x="788" y="135"/>
                  </a:lnTo>
                  <a:lnTo>
                    <a:pt x="736" y="126"/>
                  </a:lnTo>
                  <a:moveTo>
                    <a:pt x="683" y="117"/>
                  </a:moveTo>
                  <a:lnTo>
                    <a:pt x="683" y="117"/>
                  </a:lnTo>
                  <a:lnTo>
                    <a:pt x="631" y="108"/>
                  </a:lnTo>
                  <a:moveTo>
                    <a:pt x="578" y="99"/>
                  </a:moveTo>
                  <a:lnTo>
                    <a:pt x="578" y="99"/>
                  </a:lnTo>
                  <a:lnTo>
                    <a:pt x="526" y="90"/>
                  </a:lnTo>
                  <a:moveTo>
                    <a:pt x="473" y="81"/>
                  </a:moveTo>
                  <a:lnTo>
                    <a:pt x="473" y="81"/>
                  </a:lnTo>
                  <a:lnTo>
                    <a:pt x="420" y="72"/>
                  </a:lnTo>
                  <a:moveTo>
                    <a:pt x="368" y="63"/>
                  </a:moveTo>
                  <a:lnTo>
                    <a:pt x="368" y="63"/>
                  </a:lnTo>
                  <a:lnTo>
                    <a:pt x="315" y="54"/>
                  </a:lnTo>
                  <a:moveTo>
                    <a:pt x="263" y="45"/>
                  </a:moveTo>
                  <a:lnTo>
                    <a:pt x="263" y="45"/>
                  </a:lnTo>
                  <a:lnTo>
                    <a:pt x="210" y="36"/>
                  </a:lnTo>
                  <a:moveTo>
                    <a:pt x="158" y="27"/>
                  </a:moveTo>
                  <a:lnTo>
                    <a:pt x="158" y="27"/>
                  </a:lnTo>
                  <a:lnTo>
                    <a:pt x="105" y="18"/>
                  </a:lnTo>
                  <a:moveTo>
                    <a:pt x="52" y="9"/>
                  </a:moveTo>
                  <a:lnTo>
                    <a:pt x="52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3" name="Freeform 122"/>
            <p:cNvSpPr>
              <a:spLocks noEditPoints="1"/>
            </p:cNvSpPr>
            <p:nvPr/>
          </p:nvSpPr>
          <p:spPr bwMode="auto">
            <a:xfrm>
              <a:off x="4007" y="1897"/>
              <a:ext cx="125" cy="8"/>
            </a:xfrm>
            <a:custGeom>
              <a:avLst/>
              <a:gdLst>
                <a:gd name="T0" fmla="*/ 586 w 586"/>
                <a:gd name="T1" fmla="*/ 0 h 38"/>
                <a:gd name="T2" fmla="*/ 586 w 586"/>
                <a:gd name="T3" fmla="*/ 0 h 38"/>
                <a:gd name="T4" fmla="*/ 533 w 586"/>
                <a:gd name="T5" fmla="*/ 3 h 38"/>
                <a:gd name="T6" fmla="*/ 479 w 586"/>
                <a:gd name="T7" fmla="*/ 6 h 38"/>
                <a:gd name="T8" fmla="*/ 479 w 586"/>
                <a:gd name="T9" fmla="*/ 6 h 38"/>
                <a:gd name="T10" fmla="*/ 426 w 586"/>
                <a:gd name="T11" fmla="*/ 10 h 38"/>
                <a:gd name="T12" fmla="*/ 373 w 586"/>
                <a:gd name="T13" fmla="*/ 13 h 38"/>
                <a:gd name="T14" fmla="*/ 373 w 586"/>
                <a:gd name="T15" fmla="*/ 13 h 38"/>
                <a:gd name="T16" fmla="*/ 320 w 586"/>
                <a:gd name="T17" fmla="*/ 17 h 38"/>
                <a:gd name="T18" fmla="*/ 266 w 586"/>
                <a:gd name="T19" fmla="*/ 20 h 38"/>
                <a:gd name="T20" fmla="*/ 266 w 586"/>
                <a:gd name="T21" fmla="*/ 20 h 38"/>
                <a:gd name="T22" fmla="*/ 213 w 586"/>
                <a:gd name="T23" fmla="*/ 24 h 38"/>
                <a:gd name="T24" fmla="*/ 160 w 586"/>
                <a:gd name="T25" fmla="*/ 27 h 38"/>
                <a:gd name="T26" fmla="*/ 160 w 586"/>
                <a:gd name="T27" fmla="*/ 27 h 38"/>
                <a:gd name="T28" fmla="*/ 107 w 586"/>
                <a:gd name="T29" fmla="*/ 31 h 38"/>
                <a:gd name="T30" fmla="*/ 54 w 586"/>
                <a:gd name="T31" fmla="*/ 34 h 38"/>
                <a:gd name="T32" fmla="*/ 54 w 586"/>
                <a:gd name="T33" fmla="*/ 34 h 38"/>
                <a:gd name="T34" fmla="*/ 0 w 586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6" h="38">
                  <a:moveTo>
                    <a:pt x="586" y="0"/>
                  </a:moveTo>
                  <a:lnTo>
                    <a:pt x="586" y="0"/>
                  </a:lnTo>
                  <a:lnTo>
                    <a:pt x="533" y="3"/>
                  </a:lnTo>
                  <a:moveTo>
                    <a:pt x="479" y="6"/>
                  </a:moveTo>
                  <a:lnTo>
                    <a:pt x="479" y="6"/>
                  </a:lnTo>
                  <a:lnTo>
                    <a:pt x="426" y="10"/>
                  </a:lnTo>
                  <a:moveTo>
                    <a:pt x="373" y="13"/>
                  </a:moveTo>
                  <a:lnTo>
                    <a:pt x="373" y="13"/>
                  </a:lnTo>
                  <a:lnTo>
                    <a:pt x="320" y="17"/>
                  </a:lnTo>
                  <a:moveTo>
                    <a:pt x="266" y="20"/>
                  </a:moveTo>
                  <a:lnTo>
                    <a:pt x="266" y="20"/>
                  </a:lnTo>
                  <a:lnTo>
                    <a:pt x="213" y="24"/>
                  </a:lnTo>
                  <a:moveTo>
                    <a:pt x="160" y="27"/>
                  </a:moveTo>
                  <a:lnTo>
                    <a:pt x="160" y="27"/>
                  </a:lnTo>
                  <a:lnTo>
                    <a:pt x="107" y="31"/>
                  </a:lnTo>
                  <a:moveTo>
                    <a:pt x="54" y="34"/>
                  </a:moveTo>
                  <a:lnTo>
                    <a:pt x="54" y="34"/>
                  </a:lnTo>
                  <a:lnTo>
                    <a:pt x="0" y="38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4" name="Freeform 123"/>
            <p:cNvSpPr>
              <a:spLocks noEditPoints="1"/>
            </p:cNvSpPr>
            <p:nvPr/>
          </p:nvSpPr>
          <p:spPr bwMode="auto">
            <a:xfrm>
              <a:off x="3865" y="1852"/>
              <a:ext cx="116" cy="48"/>
            </a:xfrm>
            <a:custGeom>
              <a:avLst/>
              <a:gdLst>
                <a:gd name="T0" fmla="*/ 542 w 542"/>
                <a:gd name="T1" fmla="*/ 225 h 225"/>
                <a:gd name="T2" fmla="*/ 542 w 542"/>
                <a:gd name="T3" fmla="*/ 225 h 225"/>
                <a:gd name="T4" fmla="*/ 493 w 542"/>
                <a:gd name="T5" fmla="*/ 204 h 225"/>
                <a:gd name="T6" fmla="*/ 443 w 542"/>
                <a:gd name="T7" fmla="*/ 184 h 225"/>
                <a:gd name="T8" fmla="*/ 443 w 542"/>
                <a:gd name="T9" fmla="*/ 184 h 225"/>
                <a:gd name="T10" fmla="*/ 394 w 542"/>
                <a:gd name="T11" fmla="*/ 163 h 225"/>
                <a:gd name="T12" fmla="*/ 345 w 542"/>
                <a:gd name="T13" fmla="*/ 143 h 225"/>
                <a:gd name="T14" fmla="*/ 345 w 542"/>
                <a:gd name="T15" fmla="*/ 143 h 225"/>
                <a:gd name="T16" fmla="*/ 296 w 542"/>
                <a:gd name="T17" fmla="*/ 123 h 225"/>
                <a:gd name="T18" fmla="*/ 246 w 542"/>
                <a:gd name="T19" fmla="*/ 102 h 225"/>
                <a:gd name="T20" fmla="*/ 246 w 542"/>
                <a:gd name="T21" fmla="*/ 102 h 225"/>
                <a:gd name="T22" fmla="*/ 197 w 542"/>
                <a:gd name="T23" fmla="*/ 82 h 225"/>
                <a:gd name="T24" fmla="*/ 148 w 542"/>
                <a:gd name="T25" fmla="*/ 61 h 225"/>
                <a:gd name="T26" fmla="*/ 148 w 542"/>
                <a:gd name="T27" fmla="*/ 61 h 225"/>
                <a:gd name="T28" fmla="*/ 98 w 542"/>
                <a:gd name="T29" fmla="*/ 41 h 225"/>
                <a:gd name="T30" fmla="*/ 49 w 542"/>
                <a:gd name="T31" fmla="*/ 20 h 225"/>
                <a:gd name="T32" fmla="*/ 49 w 542"/>
                <a:gd name="T33" fmla="*/ 20 h 225"/>
                <a:gd name="T34" fmla="*/ 0 w 542"/>
                <a:gd name="T3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2" h="225">
                  <a:moveTo>
                    <a:pt x="542" y="225"/>
                  </a:moveTo>
                  <a:lnTo>
                    <a:pt x="542" y="225"/>
                  </a:lnTo>
                  <a:lnTo>
                    <a:pt x="493" y="204"/>
                  </a:lnTo>
                  <a:moveTo>
                    <a:pt x="443" y="184"/>
                  </a:moveTo>
                  <a:lnTo>
                    <a:pt x="443" y="184"/>
                  </a:lnTo>
                  <a:lnTo>
                    <a:pt x="394" y="163"/>
                  </a:lnTo>
                  <a:moveTo>
                    <a:pt x="345" y="143"/>
                  </a:moveTo>
                  <a:lnTo>
                    <a:pt x="345" y="143"/>
                  </a:lnTo>
                  <a:lnTo>
                    <a:pt x="296" y="123"/>
                  </a:lnTo>
                  <a:moveTo>
                    <a:pt x="246" y="102"/>
                  </a:moveTo>
                  <a:lnTo>
                    <a:pt x="246" y="102"/>
                  </a:lnTo>
                  <a:lnTo>
                    <a:pt x="197" y="82"/>
                  </a:lnTo>
                  <a:moveTo>
                    <a:pt x="148" y="61"/>
                  </a:moveTo>
                  <a:lnTo>
                    <a:pt x="148" y="61"/>
                  </a:lnTo>
                  <a:lnTo>
                    <a:pt x="98" y="41"/>
                  </a:lnTo>
                  <a:moveTo>
                    <a:pt x="49" y="20"/>
                  </a:moveTo>
                  <a:lnTo>
                    <a:pt x="49" y="2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5" name="Freeform 124"/>
            <p:cNvSpPr>
              <a:spLocks noEditPoints="1"/>
            </p:cNvSpPr>
            <p:nvPr/>
          </p:nvSpPr>
          <p:spPr bwMode="auto">
            <a:xfrm>
              <a:off x="3860" y="1861"/>
              <a:ext cx="27" cy="145"/>
            </a:xfrm>
            <a:custGeom>
              <a:avLst/>
              <a:gdLst>
                <a:gd name="T0" fmla="*/ 128 w 128"/>
                <a:gd name="T1" fmla="*/ 682 h 682"/>
                <a:gd name="T2" fmla="*/ 128 w 128"/>
                <a:gd name="T3" fmla="*/ 682 h 682"/>
                <a:gd name="T4" fmla="*/ 118 w 128"/>
                <a:gd name="T5" fmla="*/ 629 h 682"/>
                <a:gd name="T6" fmla="*/ 108 w 128"/>
                <a:gd name="T7" fmla="*/ 577 h 682"/>
                <a:gd name="T8" fmla="*/ 108 w 128"/>
                <a:gd name="T9" fmla="*/ 577 h 682"/>
                <a:gd name="T10" fmla="*/ 98 w 128"/>
                <a:gd name="T11" fmla="*/ 524 h 682"/>
                <a:gd name="T12" fmla="*/ 88 w 128"/>
                <a:gd name="T13" fmla="*/ 472 h 682"/>
                <a:gd name="T14" fmla="*/ 88 w 128"/>
                <a:gd name="T15" fmla="*/ 472 h 682"/>
                <a:gd name="T16" fmla="*/ 79 w 128"/>
                <a:gd name="T17" fmla="*/ 419 h 682"/>
                <a:gd name="T18" fmla="*/ 69 w 128"/>
                <a:gd name="T19" fmla="*/ 367 h 682"/>
                <a:gd name="T20" fmla="*/ 69 w 128"/>
                <a:gd name="T21" fmla="*/ 367 h 682"/>
                <a:gd name="T22" fmla="*/ 59 w 128"/>
                <a:gd name="T23" fmla="*/ 315 h 682"/>
                <a:gd name="T24" fmla="*/ 49 w 128"/>
                <a:gd name="T25" fmla="*/ 262 h 682"/>
                <a:gd name="T26" fmla="*/ 49 w 128"/>
                <a:gd name="T27" fmla="*/ 262 h 682"/>
                <a:gd name="T28" fmla="*/ 39 w 128"/>
                <a:gd name="T29" fmla="*/ 210 h 682"/>
                <a:gd name="T30" fmla="*/ 29 w 128"/>
                <a:gd name="T31" fmla="*/ 157 h 682"/>
                <a:gd name="T32" fmla="*/ 29 w 128"/>
                <a:gd name="T33" fmla="*/ 157 h 682"/>
                <a:gd name="T34" fmla="*/ 20 w 128"/>
                <a:gd name="T35" fmla="*/ 105 h 682"/>
                <a:gd name="T36" fmla="*/ 10 w 128"/>
                <a:gd name="T37" fmla="*/ 52 h 682"/>
                <a:gd name="T38" fmla="*/ 10 w 128"/>
                <a:gd name="T39" fmla="*/ 52 h 682"/>
                <a:gd name="T40" fmla="*/ 0 w 128"/>
                <a:gd name="T41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682">
                  <a:moveTo>
                    <a:pt x="128" y="682"/>
                  </a:moveTo>
                  <a:lnTo>
                    <a:pt x="128" y="682"/>
                  </a:lnTo>
                  <a:lnTo>
                    <a:pt x="118" y="629"/>
                  </a:lnTo>
                  <a:moveTo>
                    <a:pt x="108" y="577"/>
                  </a:moveTo>
                  <a:lnTo>
                    <a:pt x="108" y="577"/>
                  </a:lnTo>
                  <a:lnTo>
                    <a:pt x="98" y="524"/>
                  </a:lnTo>
                  <a:moveTo>
                    <a:pt x="88" y="472"/>
                  </a:moveTo>
                  <a:lnTo>
                    <a:pt x="88" y="472"/>
                  </a:lnTo>
                  <a:lnTo>
                    <a:pt x="79" y="419"/>
                  </a:lnTo>
                  <a:moveTo>
                    <a:pt x="69" y="367"/>
                  </a:moveTo>
                  <a:lnTo>
                    <a:pt x="69" y="367"/>
                  </a:lnTo>
                  <a:lnTo>
                    <a:pt x="59" y="315"/>
                  </a:lnTo>
                  <a:moveTo>
                    <a:pt x="49" y="262"/>
                  </a:moveTo>
                  <a:lnTo>
                    <a:pt x="49" y="262"/>
                  </a:lnTo>
                  <a:lnTo>
                    <a:pt x="39" y="210"/>
                  </a:lnTo>
                  <a:moveTo>
                    <a:pt x="29" y="157"/>
                  </a:moveTo>
                  <a:lnTo>
                    <a:pt x="29" y="157"/>
                  </a:lnTo>
                  <a:lnTo>
                    <a:pt x="20" y="105"/>
                  </a:lnTo>
                  <a:moveTo>
                    <a:pt x="10" y="52"/>
                  </a:moveTo>
                  <a:lnTo>
                    <a:pt x="10" y="5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6" name="Freeform 125"/>
            <p:cNvSpPr>
              <a:spLocks noEditPoints="1"/>
            </p:cNvSpPr>
            <p:nvPr/>
          </p:nvSpPr>
          <p:spPr bwMode="auto">
            <a:xfrm>
              <a:off x="3900" y="2019"/>
              <a:ext cx="80" cy="0"/>
            </a:xfrm>
            <a:custGeom>
              <a:avLst/>
              <a:gdLst>
                <a:gd name="T0" fmla="*/ 373 w 373"/>
                <a:gd name="T1" fmla="*/ 373 w 373"/>
                <a:gd name="T2" fmla="*/ 320 w 373"/>
                <a:gd name="T3" fmla="*/ 266 w 373"/>
                <a:gd name="T4" fmla="*/ 266 w 373"/>
                <a:gd name="T5" fmla="*/ 213 w 373"/>
                <a:gd name="T6" fmla="*/ 160 w 373"/>
                <a:gd name="T7" fmla="*/ 160 w 373"/>
                <a:gd name="T8" fmla="*/ 106 w 373"/>
                <a:gd name="T9" fmla="*/ 53 w 373"/>
                <a:gd name="T10" fmla="*/ 53 w 373"/>
                <a:gd name="T11" fmla="*/ 0 w 3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373">
                  <a:moveTo>
                    <a:pt x="373" y="0"/>
                  </a:moveTo>
                  <a:lnTo>
                    <a:pt x="373" y="0"/>
                  </a:lnTo>
                  <a:lnTo>
                    <a:pt x="320" y="0"/>
                  </a:lnTo>
                  <a:moveTo>
                    <a:pt x="266" y="0"/>
                  </a:moveTo>
                  <a:lnTo>
                    <a:pt x="266" y="0"/>
                  </a:lnTo>
                  <a:lnTo>
                    <a:pt x="213" y="0"/>
                  </a:lnTo>
                  <a:moveTo>
                    <a:pt x="160" y="0"/>
                  </a:moveTo>
                  <a:lnTo>
                    <a:pt x="160" y="0"/>
                  </a:lnTo>
                  <a:lnTo>
                    <a:pt x="106" y="0"/>
                  </a:lnTo>
                  <a:moveTo>
                    <a:pt x="53" y="0"/>
                  </a:move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7" name="Freeform 126"/>
            <p:cNvSpPr>
              <a:spLocks noEditPoints="1"/>
            </p:cNvSpPr>
            <p:nvPr/>
          </p:nvSpPr>
          <p:spPr bwMode="auto">
            <a:xfrm>
              <a:off x="3992" y="1927"/>
              <a:ext cx="0" cy="79"/>
            </a:xfrm>
            <a:custGeom>
              <a:avLst/>
              <a:gdLst>
                <a:gd name="T0" fmla="*/ 374 h 374"/>
                <a:gd name="T1" fmla="*/ 374 h 374"/>
                <a:gd name="T2" fmla="*/ 320 h 374"/>
                <a:gd name="T3" fmla="*/ 267 h 374"/>
                <a:gd name="T4" fmla="*/ 267 h 374"/>
                <a:gd name="T5" fmla="*/ 214 h 374"/>
                <a:gd name="T6" fmla="*/ 160 h 374"/>
                <a:gd name="T7" fmla="*/ 160 h 374"/>
                <a:gd name="T8" fmla="*/ 107 h 374"/>
                <a:gd name="T9" fmla="*/ 54 h 374"/>
                <a:gd name="T10" fmla="*/ 54 h 374"/>
                <a:gd name="T11" fmla="*/ 0 h 37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</a:cxnLst>
              <a:rect l="0" t="0" r="r" b="b"/>
              <a:pathLst>
                <a:path h="374">
                  <a:moveTo>
                    <a:pt x="0" y="374"/>
                  </a:moveTo>
                  <a:lnTo>
                    <a:pt x="0" y="374"/>
                  </a:lnTo>
                  <a:lnTo>
                    <a:pt x="0" y="320"/>
                  </a:lnTo>
                  <a:moveTo>
                    <a:pt x="0" y="267"/>
                  </a:moveTo>
                  <a:lnTo>
                    <a:pt x="0" y="267"/>
                  </a:lnTo>
                  <a:lnTo>
                    <a:pt x="0" y="214"/>
                  </a:lnTo>
                  <a:moveTo>
                    <a:pt x="0" y="160"/>
                  </a:moveTo>
                  <a:lnTo>
                    <a:pt x="0" y="160"/>
                  </a:lnTo>
                  <a:lnTo>
                    <a:pt x="0" y="107"/>
                  </a:lnTo>
                  <a:moveTo>
                    <a:pt x="0" y="54"/>
                  </a:move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8" name="Freeform 127"/>
            <p:cNvSpPr>
              <a:spLocks noEditPoints="1"/>
            </p:cNvSpPr>
            <p:nvPr/>
          </p:nvSpPr>
          <p:spPr bwMode="auto">
            <a:xfrm>
              <a:off x="4003" y="1902"/>
              <a:ext cx="134" cy="107"/>
            </a:xfrm>
            <a:custGeom>
              <a:avLst/>
              <a:gdLst>
                <a:gd name="T0" fmla="*/ 627 w 627"/>
                <a:gd name="T1" fmla="*/ 0 h 497"/>
                <a:gd name="T2" fmla="*/ 627 w 627"/>
                <a:gd name="T3" fmla="*/ 0 h 497"/>
                <a:gd name="T4" fmla="*/ 585 w 627"/>
                <a:gd name="T5" fmla="*/ 33 h 497"/>
                <a:gd name="T6" fmla="*/ 544 w 627"/>
                <a:gd name="T7" fmla="*/ 66 h 497"/>
                <a:gd name="T8" fmla="*/ 544 w 627"/>
                <a:gd name="T9" fmla="*/ 66 h 497"/>
                <a:gd name="T10" fmla="*/ 502 w 627"/>
                <a:gd name="T11" fmla="*/ 99 h 497"/>
                <a:gd name="T12" fmla="*/ 460 w 627"/>
                <a:gd name="T13" fmla="*/ 132 h 497"/>
                <a:gd name="T14" fmla="*/ 460 w 627"/>
                <a:gd name="T15" fmla="*/ 132 h 497"/>
                <a:gd name="T16" fmla="*/ 418 w 627"/>
                <a:gd name="T17" fmla="*/ 165 h 497"/>
                <a:gd name="T18" fmla="*/ 376 w 627"/>
                <a:gd name="T19" fmla="*/ 198 h 497"/>
                <a:gd name="T20" fmla="*/ 376 w 627"/>
                <a:gd name="T21" fmla="*/ 198 h 497"/>
                <a:gd name="T22" fmla="*/ 335 w 627"/>
                <a:gd name="T23" fmla="*/ 232 h 497"/>
                <a:gd name="T24" fmla="*/ 293 w 627"/>
                <a:gd name="T25" fmla="*/ 265 h 497"/>
                <a:gd name="T26" fmla="*/ 293 w 627"/>
                <a:gd name="T27" fmla="*/ 265 h 497"/>
                <a:gd name="T28" fmla="*/ 251 w 627"/>
                <a:gd name="T29" fmla="*/ 298 h 497"/>
                <a:gd name="T30" fmla="*/ 209 w 627"/>
                <a:gd name="T31" fmla="*/ 331 h 497"/>
                <a:gd name="T32" fmla="*/ 209 w 627"/>
                <a:gd name="T33" fmla="*/ 331 h 497"/>
                <a:gd name="T34" fmla="*/ 167 w 627"/>
                <a:gd name="T35" fmla="*/ 364 h 497"/>
                <a:gd name="T36" fmla="*/ 126 w 627"/>
                <a:gd name="T37" fmla="*/ 397 h 497"/>
                <a:gd name="T38" fmla="*/ 126 w 627"/>
                <a:gd name="T39" fmla="*/ 397 h 497"/>
                <a:gd name="T40" fmla="*/ 84 w 627"/>
                <a:gd name="T41" fmla="*/ 430 h 497"/>
                <a:gd name="T42" fmla="*/ 42 w 627"/>
                <a:gd name="T43" fmla="*/ 463 h 497"/>
                <a:gd name="T44" fmla="*/ 42 w 627"/>
                <a:gd name="T45" fmla="*/ 463 h 497"/>
                <a:gd name="T46" fmla="*/ 0 w 627"/>
                <a:gd name="T47" fmla="*/ 49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7" h="497">
                  <a:moveTo>
                    <a:pt x="627" y="0"/>
                  </a:moveTo>
                  <a:lnTo>
                    <a:pt x="627" y="0"/>
                  </a:lnTo>
                  <a:lnTo>
                    <a:pt x="585" y="33"/>
                  </a:lnTo>
                  <a:moveTo>
                    <a:pt x="544" y="66"/>
                  </a:moveTo>
                  <a:lnTo>
                    <a:pt x="544" y="66"/>
                  </a:lnTo>
                  <a:lnTo>
                    <a:pt x="502" y="99"/>
                  </a:lnTo>
                  <a:moveTo>
                    <a:pt x="460" y="132"/>
                  </a:moveTo>
                  <a:lnTo>
                    <a:pt x="460" y="132"/>
                  </a:lnTo>
                  <a:lnTo>
                    <a:pt x="418" y="165"/>
                  </a:lnTo>
                  <a:moveTo>
                    <a:pt x="376" y="198"/>
                  </a:moveTo>
                  <a:lnTo>
                    <a:pt x="376" y="198"/>
                  </a:lnTo>
                  <a:lnTo>
                    <a:pt x="335" y="232"/>
                  </a:lnTo>
                  <a:moveTo>
                    <a:pt x="293" y="265"/>
                  </a:moveTo>
                  <a:lnTo>
                    <a:pt x="293" y="265"/>
                  </a:lnTo>
                  <a:lnTo>
                    <a:pt x="251" y="298"/>
                  </a:lnTo>
                  <a:moveTo>
                    <a:pt x="209" y="331"/>
                  </a:moveTo>
                  <a:lnTo>
                    <a:pt x="209" y="331"/>
                  </a:lnTo>
                  <a:lnTo>
                    <a:pt x="167" y="364"/>
                  </a:lnTo>
                  <a:moveTo>
                    <a:pt x="126" y="397"/>
                  </a:moveTo>
                  <a:lnTo>
                    <a:pt x="126" y="397"/>
                  </a:lnTo>
                  <a:lnTo>
                    <a:pt x="84" y="430"/>
                  </a:lnTo>
                  <a:moveTo>
                    <a:pt x="42" y="463"/>
                  </a:moveTo>
                  <a:lnTo>
                    <a:pt x="42" y="463"/>
                  </a:lnTo>
                  <a:lnTo>
                    <a:pt x="0" y="497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29" name="Freeform 128"/>
            <p:cNvSpPr>
              <a:spLocks noEditPoints="1"/>
            </p:cNvSpPr>
            <p:nvPr/>
          </p:nvSpPr>
          <p:spPr bwMode="auto">
            <a:xfrm>
              <a:off x="4115" y="1904"/>
              <a:ext cx="28" cy="145"/>
            </a:xfrm>
            <a:custGeom>
              <a:avLst/>
              <a:gdLst>
                <a:gd name="T0" fmla="*/ 131 w 131"/>
                <a:gd name="T1" fmla="*/ 0 h 680"/>
                <a:gd name="T2" fmla="*/ 131 w 131"/>
                <a:gd name="T3" fmla="*/ 0 h 680"/>
                <a:gd name="T4" fmla="*/ 121 w 131"/>
                <a:gd name="T5" fmla="*/ 52 h 680"/>
                <a:gd name="T6" fmla="*/ 111 w 131"/>
                <a:gd name="T7" fmla="*/ 104 h 680"/>
                <a:gd name="T8" fmla="*/ 111 w 131"/>
                <a:gd name="T9" fmla="*/ 104 h 680"/>
                <a:gd name="T10" fmla="*/ 101 w 131"/>
                <a:gd name="T11" fmla="*/ 157 h 680"/>
                <a:gd name="T12" fmla="*/ 91 w 131"/>
                <a:gd name="T13" fmla="*/ 209 h 680"/>
                <a:gd name="T14" fmla="*/ 91 w 131"/>
                <a:gd name="T15" fmla="*/ 209 h 680"/>
                <a:gd name="T16" fmla="*/ 80 w 131"/>
                <a:gd name="T17" fmla="*/ 261 h 680"/>
                <a:gd name="T18" fmla="*/ 70 w 131"/>
                <a:gd name="T19" fmla="*/ 314 h 680"/>
                <a:gd name="T20" fmla="*/ 70 w 131"/>
                <a:gd name="T21" fmla="*/ 314 h 680"/>
                <a:gd name="T22" fmla="*/ 60 w 131"/>
                <a:gd name="T23" fmla="*/ 366 h 680"/>
                <a:gd name="T24" fmla="*/ 50 w 131"/>
                <a:gd name="T25" fmla="*/ 418 h 680"/>
                <a:gd name="T26" fmla="*/ 50 w 131"/>
                <a:gd name="T27" fmla="*/ 418 h 680"/>
                <a:gd name="T28" fmla="*/ 40 w 131"/>
                <a:gd name="T29" fmla="*/ 471 h 680"/>
                <a:gd name="T30" fmla="*/ 30 w 131"/>
                <a:gd name="T31" fmla="*/ 523 h 680"/>
                <a:gd name="T32" fmla="*/ 30 w 131"/>
                <a:gd name="T33" fmla="*/ 523 h 680"/>
                <a:gd name="T34" fmla="*/ 20 w 131"/>
                <a:gd name="T35" fmla="*/ 576 h 680"/>
                <a:gd name="T36" fmla="*/ 10 w 131"/>
                <a:gd name="T37" fmla="*/ 628 h 680"/>
                <a:gd name="T38" fmla="*/ 10 w 131"/>
                <a:gd name="T39" fmla="*/ 628 h 680"/>
                <a:gd name="T40" fmla="*/ 0 w 131"/>
                <a:gd name="T41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680">
                  <a:moveTo>
                    <a:pt x="131" y="0"/>
                  </a:moveTo>
                  <a:lnTo>
                    <a:pt x="131" y="0"/>
                  </a:lnTo>
                  <a:lnTo>
                    <a:pt x="121" y="52"/>
                  </a:lnTo>
                  <a:moveTo>
                    <a:pt x="111" y="104"/>
                  </a:moveTo>
                  <a:lnTo>
                    <a:pt x="111" y="104"/>
                  </a:lnTo>
                  <a:lnTo>
                    <a:pt x="101" y="157"/>
                  </a:lnTo>
                  <a:moveTo>
                    <a:pt x="91" y="209"/>
                  </a:moveTo>
                  <a:lnTo>
                    <a:pt x="91" y="209"/>
                  </a:lnTo>
                  <a:lnTo>
                    <a:pt x="80" y="261"/>
                  </a:lnTo>
                  <a:moveTo>
                    <a:pt x="70" y="314"/>
                  </a:moveTo>
                  <a:lnTo>
                    <a:pt x="70" y="314"/>
                  </a:lnTo>
                  <a:lnTo>
                    <a:pt x="60" y="366"/>
                  </a:lnTo>
                  <a:moveTo>
                    <a:pt x="50" y="418"/>
                  </a:moveTo>
                  <a:lnTo>
                    <a:pt x="50" y="418"/>
                  </a:lnTo>
                  <a:lnTo>
                    <a:pt x="40" y="471"/>
                  </a:lnTo>
                  <a:moveTo>
                    <a:pt x="30" y="523"/>
                  </a:moveTo>
                  <a:lnTo>
                    <a:pt x="30" y="523"/>
                  </a:lnTo>
                  <a:lnTo>
                    <a:pt x="20" y="576"/>
                  </a:lnTo>
                  <a:moveTo>
                    <a:pt x="10" y="628"/>
                  </a:moveTo>
                  <a:lnTo>
                    <a:pt x="10" y="628"/>
                  </a:lnTo>
                  <a:lnTo>
                    <a:pt x="0" y="68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0" name="Freeform 129"/>
            <p:cNvSpPr>
              <a:spLocks noEditPoints="1"/>
            </p:cNvSpPr>
            <p:nvPr/>
          </p:nvSpPr>
          <p:spPr bwMode="auto">
            <a:xfrm>
              <a:off x="4011" y="1997"/>
              <a:ext cx="215" cy="22"/>
            </a:xfrm>
            <a:custGeom>
              <a:avLst/>
              <a:gdLst>
                <a:gd name="T0" fmla="*/ 1008 w 1008"/>
                <a:gd name="T1" fmla="*/ 0 h 103"/>
                <a:gd name="T2" fmla="*/ 1008 w 1008"/>
                <a:gd name="T3" fmla="*/ 0 h 103"/>
                <a:gd name="T4" fmla="*/ 955 w 1008"/>
                <a:gd name="T5" fmla="*/ 6 h 103"/>
                <a:gd name="T6" fmla="*/ 902 w 1008"/>
                <a:gd name="T7" fmla="*/ 11 h 103"/>
                <a:gd name="T8" fmla="*/ 902 w 1008"/>
                <a:gd name="T9" fmla="*/ 11 h 103"/>
                <a:gd name="T10" fmla="*/ 849 w 1008"/>
                <a:gd name="T11" fmla="*/ 16 h 103"/>
                <a:gd name="T12" fmla="*/ 796 w 1008"/>
                <a:gd name="T13" fmla="*/ 22 h 103"/>
                <a:gd name="T14" fmla="*/ 796 w 1008"/>
                <a:gd name="T15" fmla="*/ 22 h 103"/>
                <a:gd name="T16" fmla="*/ 742 w 1008"/>
                <a:gd name="T17" fmla="*/ 27 h 103"/>
                <a:gd name="T18" fmla="*/ 689 w 1008"/>
                <a:gd name="T19" fmla="*/ 33 h 103"/>
                <a:gd name="T20" fmla="*/ 689 w 1008"/>
                <a:gd name="T21" fmla="*/ 33 h 103"/>
                <a:gd name="T22" fmla="*/ 636 w 1008"/>
                <a:gd name="T23" fmla="*/ 38 h 103"/>
                <a:gd name="T24" fmla="*/ 583 w 1008"/>
                <a:gd name="T25" fmla="*/ 43 h 103"/>
                <a:gd name="T26" fmla="*/ 583 w 1008"/>
                <a:gd name="T27" fmla="*/ 43 h 103"/>
                <a:gd name="T28" fmla="*/ 530 w 1008"/>
                <a:gd name="T29" fmla="*/ 49 h 103"/>
                <a:gd name="T30" fmla="*/ 477 w 1008"/>
                <a:gd name="T31" fmla="*/ 54 h 103"/>
                <a:gd name="T32" fmla="*/ 477 w 1008"/>
                <a:gd name="T33" fmla="*/ 54 h 103"/>
                <a:gd name="T34" fmla="*/ 424 w 1008"/>
                <a:gd name="T35" fmla="*/ 60 h 103"/>
                <a:gd name="T36" fmla="*/ 371 w 1008"/>
                <a:gd name="T37" fmla="*/ 65 h 103"/>
                <a:gd name="T38" fmla="*/ 371 w 1008"/>
                <a:gd name="T39" fmla="*/ 65 h 103"/>
                <a:gd name="T40" fmla="*/ 318 w 1008"/>
                <a:gd name="T41" fmla="*/ 70 h 103"/>
                <a:gd name="T42" fmla="*/ 265 w 1008"/>
                <a:gd name="T43" fmla="*/ 76 h 103"/>
                <a:gd name="T44" fmla="*/ 265 w 1008"/>
                <a:gd name="T45" fmla="*/ 76 h 103"/>
                <a:gd name="T46" fmla="*/ 212 w 1008"/>
                <a:gd name="T47" fmla="*/ 81 h 103"/>
                <a:gd name="T48" fmla="*/ 159 w 1008"/>
                <a:gd name="T49" fmla="*/ 87 h 103"/>
                <a:gd name="T50" fmla="*/ 159 w 1008"/>
                <a:gd name="T51" fmla="*/ 87 h 103"/>
                <a:gd name="T52" fmla="*/ 106 w 1008"/>
                <a:gd name="T53" fmla="*/ 92 h 103"/>
                <a:gd name="T54" fmla="*/ 53 w 1008"/>
                <a:gd name="T55" fmla="*/ 97 h 103"/>
                <a:gd name="T56" fmla="*/ 53 w 1008"/>
                <a:gd name="T57" fmla="*/ 97 h 103"/>
                <a:gd name="T58" fmla="*/ 0 w 1008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8" h="103">
                  <a:moveTo>
                    <a:pt x="1008" y="0"/>
                  </a:moveTo>
                  <a:lnTo>
                    <a:pt x="1008" y="0"/>
                  </a:lnTo>
                  <a:lnTo>
                    <a:pt x="955" y="6"/>
                  </a:lnTo>
                  <a:moveTo>
                    <a:pt x="902" y="11"/>
                  </a:moveTo>
                  <a:lnTo>
                    <a:pt x="902" y="11"/>
                  </a:lnTo>
                  <a:lnTo>
                    <a:pt x="849" y="16"/>
                  </a:lnTo>
                  <a:moveTo>
                    <a:pt x="796" y="22"/>
                  </a:moveTo>
                  <a:lnTo>
                    <a:pt x="796" y="22"/>
                  </a:lnTo>
                  <a:lnTo>
                    <a:pt x="742" y="27"/>
                  </a:lnTo>
                  <a:moveTo>
                    <a:pt x="689" y="33"/>
                  </a:moveTo>
                  <a:lnTo>
                    <a:pt x="689" y="33"/>
                  </a:lnTo>
                  <a:lnTo>
                    <a:pt x="636" y="38"/>
                  </a:lnTo>
                  <a:moveTo>
                    <a:pt x="583" y="43"/>
                  </a:moveTo>
                  <a:lnTo>
                    <a:pt x="583" y="43"/>
                  </a:lnTo>
                  <a:lnTo>
                    <a:pt x="530" y="49"/>
                  </a:lnTo>
                  <a:moveTo>
                    <a:pt x="477" y="54"/>
                  </a:moveTo>
                  <a:lnTo>
                    <a:pt x="477" y="54"/>
                  </a:lnTo>
                  <a:lnTo>
                    <a:pt x="424" y="60"/>
                  </a:lnTo>
                  <a:moveTo>
                    <a:pt x="371" y="65"/>
                  </a:moveTo>
                  <a:lnTo>
                    <a:pt x="371" y="65"/>
                  </a:lnTo>
                  <a:lnTo>
                    <a:pt x="318" y="70"/>
                  </a:lnTo>
                  <a:moveTo>
                    <a:pt x="265" y="76"/>
                  </a:moveTo>
                  <a:lnTo>
                    <a:pt x="265" y="76"/>
                  </a:lnTo>
                  <a:lnTo>
                    <a:pt x="212" y="81"/>
                  </a:lnTo>
                  <a:moveTo>
                    <a:pt x="159" y="87"/>
                  </a:moveTo>
                  <a:lnTo>
                    <a:pt x="159" y="87"/>
                  </a:lnTo>
                  <a:lnTo>
                    <a:pt x="106" y="92"/>
                  </a:lnTo>
                  <a:moveTo>
                    <a:pt x="53" y="97"/>
                  </a:moveTo>
                  <a:lnTo>
                    <a:pt x="53" y="97"/>
                  </a:lnTo>
                  <a:lnTo>
                    <a:pt x="0" y="103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1" name="Freeform 130"/>
            <p:cNvSpPr>
              <a:spLocks noEditPoints="1"/>
            </p:cNvSpPr>
            <p:nvPr/>
          </p:nvSpPr>
          <p:spPr bwMode="auto">
            <a:xfrm>
              <a:off x="4004" y="2029"/>
              <a:ext cx="98" cy="30"/>
            </a:xfrm>
            <a:custGeom>
              <a:avLst/>
              <a:gdLst>
                <a:gd name="T0" fmla="*/ 459 w 459"/>
                <a:gd name="T1" fmla="*/ 140 h 140"/>
                <a:gd name="T2" fmla="*/ 459 w 459"/>
                <a:gd name="T3" fmla="*/ 140 h 140"/>
                <a:gd name="T4" fmla="*/ 408 w 459"/>
                <a:gd name="T5" fmla="*/ 125 h 140"/>
                <a:gd name="T6" fmla="*/ 357 w 459"/>
                <a:gd name="T7" fmla="*/ 109 h 140"/>
                <a:gd name="T8" fmla="*/ 357 w 459"/>
                <a:gd name="T9" fmla="*/ 109 h 140"/>
                <a:gd name="T10" fmla="*/ 306 w 459"/>
                <a:gd name="T11" fmla="*/ 94 h 140"/>
                <a:gd name="T12" fmla="*/ 255 w 459"/>
                <a:gd name="T13" fmla="*/ 78 h 140"/>
                <a:gd name="T14" fmla="*/ 255 w 459"/>
                <a:gd name="T15" fmla="*/ 78 h 140"/>
                <a:gd name="T16" fmla="*/ 204 w 459"/>
                <a:gd name="T17" fmla="*/ 63 h 140"/>
                <a:gd name="T18" fmla="*/ 153 w 459"/>
                <a:gd name="T19" fmla="*/ 47 h 140"/>
                <a:gd name="T20" fmla="*/ 153 w 459"/>
                <a:gd name="T21" fmla="*/ 47 h 140"/>
                <a:gd name="T22" fmla="*/ 102 w 459"/>
                <a:gd name="T23" fmla="*/ 31 h 140"/>
                <a:gd name="T24" fmla="*/ 51 w 459"/>
                <a:gd name="T25" fmla="*/ 16 h 140"/>
                <a:gd name="T26" fmla="*/ 51 w 459"/>
                <a:gd name="T27" fmla="*/ 16 h 140"/>
                <a:gd name="T28" fmla="*/ 0 w 459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9" h="140">
                  <a:moveTo>
                    <a:pt x="459" y="140"/>
                  </a:moveTo>
                  <a:lnTo>
                    <a:pt x="459" y="140"/>
                  </a:lnTo>
                  <a:lnTo>
                    <a:pt x="408" y="125"/>
                  </a:lnTo>
                  <a:moveTo>
                    <a:pt x="357" y="109"/>
                  </a:moveTo>
                  <a:lnTo>
                    <a:pt x="357" y="109"/>
                  </a:lnTo>
                  <a:lnTo>
                    <a:pt x="306" y="94"/>
                  </a:lnTo>
                  <a:moveTo>
                    <a:pt x="255" y="78"/>
                  </a:moveTo>
                  <a:lnTo>
                    <a:pt x="255" y="78"/>
                  </a:lnTo>
                  <a:lnTo>
                    <a:pt x="204" y="63"/>
                  </a:lnTo>
                  <a:moveTo>
                    <a:pt x="153" y="47"/>
                  </a:moveTo>
                  <a:lnTo>
                    <a:pt x="153" y="47"/>
                  </a:lnTo>
                  <a:lnTo>
                    <a:pt x="102" y="31"/>
                  </a:lnTo>
                  <a:moveTo>
                    <a:pt x="51" y="16"/>
                  </a:moveTo>
                  <a:lnTo>
                    <a:pt x="51" y="1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2" name="Freeform 131"/>
            <p:cNvSpPr>
              <a:spLocks noEditPoints="1"/>
            </p:cNvSpPr>
            <p:nvPr/>
          </p:nvSpPr>
          <p:spPr bwMode="auto">
            <a:xfrm>
              <a:off x="4126" y="2002"/>
              <a:ext cx="105" cy="58"/>
            </a:xfrm>
            <a:custGeom>
              <a:avLst/>
              <a:gdLst>
                <a:gd name="T0" fmla="*/ 0 w 491"/>
                <a:gd name="T1" fmla="*/ 270 h 270"/>
                <a:gd name="T2" fmla="*/ 0 w 491"/>
                <a:gd name="T3" fmla="*/ 270 h 270"/>
                <a:gd name="T4" fmla="*/ 47 w 491"/>
                <a:gd name="T5" fmla="*/ 244 h 270"/>
                <a:gd name="T6" fmla="*/ 94 w 491"/>
                <a:gd name="T7" fmla="*/ 218 h 270"/>
                <a:gd name="T8" fmla="*/ 94 w 491"/>
                <a:gd name="T9" fmla="*/ 218 h 270"/>
                <a:gd name="T10" fmla="*/ 141 w 491"/>
                <a:gd name="T11" fmla="*/ 193 h 270"/>
                <a:gd name="T12" fmla="*/ 187 w 491"/>
                <a:gd name="T13" fmla="*/ 167 h 270"/>
                <a:gd name="T14" fmla="*/ 187 w 491"/>
                <a:gd name="T15" fmla="*/ 167 h 270"/>
                <a:gd name="T16" fmla="*/ 234 w 491"/>
                <a:gd name="T17" fmla="*/ 141 h 270"/>
                <a:gd name="T18" fmla="*/ 281 w 491"/>
                <a:gd name="T19" fmla="*/ 116 h 270"/>
                <a:gd name="T20" fmla="*/ 281 w 491"/>
                <a:gd name="T21" fmla="*/ 116 h 270"/>
                <a:gd name="T22" fmla="*/ 328 w 491"/>
                <a:gd name="T23" fmla="*/ 90 h 270"/>
                <a:gd name="T24" fmla="*/ 375 w 491"/>
                <a:gd name="T25" fmla="*/ 64 h 270"/>
                <a:gd name="T26" fmla="*/ 375 w 491"/>
                <a:gd name="T27" fmla="*/ 64 h 270"/>
                <a:gd name="T28" fmla="*/ 421 w 491"/>
                <a:gd name="T29" fmla="*/ 39 h 270"/>
                <a:gd name="T30" fmla="*/ 468 w 491"/>
                <a:gd name="T31" fmla="*/ 13 h 270"/>
                <a:gd name="T32" fmla="*/ 468 w 491"/>
                <a:gd name="T33" fmla="*/ 13 h 270"/>
                <a:gd name="T34" fmla="*/ 491 w 491"/>
                <a:gd name="T3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1" h="270">
                  <a:moveTo>
                    <a:pt x="0" y="270"/>
                  </a:moveTo>
                  <a:lnTo>
                    <a:pt x="0" y="270"/>
                  </a:lnTo>
                  <a:lnTo>
                    <a:pt x="47" y="244"/>
                  </a:lnTo>
                  <a:moveTo>
                    <a:pt x="94" y="218"/>
                  </a:moveTo>
                  <a:lnTo>
                    <a:pt x="94" y="218"/>
                  </a:lnTo>
                  <a:lnTo>
                    <a:pt x="141" y="193"/>
                  </a:lnTo>
                  <a:moveTo>
                    <a:pt x="187" y="167"/>
                  </a:moveTo>
                  <a:lnTo>
                    <a:pt x="187" y="167"/>
                  </a:lnTo>
                  <a:lnTo>
                    <a:pt x="234" y="141"/>
                  </a:lnTo>
                  <a:moveTo>
                    <a:pt x="281" y="116"/>
                  </a:moveTo>
                  <a:lnTo>
                    <a:pt x="281" y="116"/>
                  </a:lnTo>
                  <a:lnTo>
                    <a:pt x="328" y="90"/>
                  </a:lnTo>
                  <a:moveTo>
                    <a:pt x="375" y="64"/>
                  </a:moveTo>
                  <a:lnTo>
                    <a:pt x="375" y="64"/>
                  </a:lnTo>
                  <a:lnTo>
                    <a:pt x="421" y="39"/>
                  </a:lnTo>
                  <a:moveTo>
                    <a:pt x="468" y="13"/>
                  </a:moveTo>
                  <a:lnTo>
                    <a:pt x="468" y="13"/>
                  </a:lnTo>
                  <a:lnTo>
                    <a:pt x="491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3" name="Freeform 132"/>
            <p:cNvSpPr>
              <a:spLocks noEditPoints="1"/>
            </p:cNvSpPr>
            <p:nvPr/>
          </p:nvSpPr>
          <p:spPr bwMode="auto">
            <a:xfrm>
              <a:off x="4249" y="1945"/>
              <a:ext cx="82" cy="40"/>
            </a:xfrm>
            <a:custGeom>
              <a:avLst/>
              <a:gdLst>
                <a:gd name="T0" fmla="*/ 385 w 385"/>
                <a:gd name="T1" fmla="*/ 0 h 188"/>
                <a:gd name="T2" fmla="*/ 385 w 385"/>
                <a:gd name="T3" fmla="*/ 0 h 188"/>
                <a:gd name="T4" fmla="*/ 337 w 385"/>
                <a:gd name="T5" fmla="*/ 24 h 188"/>
                <a:gd name="T6" fmla="*/ 289 w 385"/>
                <a:gd name="T7" fmla="*/ 47 h 188"/>
                <a:gd name="T8" fmla="*/ 289 w 385"/>
                <a:gd name="T9" fmla="*/ 47 h 188"/>
                <a:gd name="T10" fmla="*/ 241 w 385"/>
                <a:gd name="T11" fmla="*/ 70 h 188"/>
                <a:gd name="T12" fmla="*/ 193 w 385"/>
                <a:gd name="T13" fmla="*/ 94 h 188"/>
                <a:gd name="T14" fmla="*/ 193 w 385"/>
                <a:gd name="T15" fmla="*/ 94 h 188"/>
                <a:gd name="T16" fmla="*/ 145 w 385"/>
                <a:gd name="T17" fmla="*/ 117 h 188"/>
                <a:gd name="T18" fmla="*/ 97 w 385"/>
                <a:gd name="T19" fmla="*/ 140 h 188"/>
                <a:gd name="T20" fmla="*/ 97 w 385"/>
                <a:gd name="T21" fmla="*/ 140 h 188"/>
                <a:gd name="T22" fmla="*/ 49 w 385"/>
                <a:gd name="T23" fmla="*/ 164 h 188"/>
                <a:gd name="T24" fmla="*/ 2 w 385"/>
                <a:gd name="T25" fmla="*/ 187 h 188"/>
                <a:gd name="T26" fmla="*/ 2 w 385"/>
                <a:gd name="T27" fmla="*/ 187 h 188"/>
                <a:gd name="T28" fmla="*/ 0 w 385"/>
                <a:gd name="T2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5" h="188">
                  <a:moveTo>
                    <a:pt x="385" y="0"/>
                  </a:moveTo>
                  <a:lnTo>
                    <a:pt x="385" y="0"/>
                  </a:lnTo>
                  <a:lnTo>
                    <a:pt x="337" y="24"/>
                  </a:lnTo>
                  <a:moveTo>
                    <a:pt x="289" y="47"/>
                  </a:moveTo>
                  <a:lnTo>
                    <a:pt x="289" y="47"/>
                  </a:lnTo>
                  <a:lnTo>
                    <a:pt x="241" y="70"/>
                  </a:lnTo>
                  <a:moveTo>
                    <a:pt x="193" y="94"/>
                  </a:moveTo>
                  <a:lnTo>
                    <a:pt x="193" y="94"/>
                  </a:lnTo>
                  <a:lnTo>
                    <a:pt x="145" y="117"/>
                  </a:lnTo>
                  <a:moveTo>
                    <a:pt x="97" y="140"/>
                  </a:moveTo>
                  <a:lnTo>
                    <a:pt x="97" y="140"/>
                  </a:lnTo>
                  <a:lnTo>
                    <a:pt x="49" y="164"/>
                  </a:lnTo>
                  <a:moveTo>
                    <a:pt x="2" y="187"/>
                  </a:moveTo>
                  <a:lnTo>
                    <a:pt x="2" y="187"/>
                  </a:lnTo>
                  <a:lnTo>
                    <a:pt x="0" y="188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4" name="Freeform 133"/>
            <p:cNvSpPr>
              <a:spLocks noEditPoints="1"/>
            </p:cNvSpPr>
            <p:nvPr/>
          </p:nvSpPr>
          <p:spPr bwMode="auto">
            <a:xfrm>
              <a:off x="4280" y="1843"/>
              <a:ext cx="54" cy="87"/>
            </a:xfrm>
            <a:custGeom>
              <a:avLst/>
              <a:gdLst>
                <a:gd name="T0" fmla="*/ 249 w 249"/>
                <a:gd name="T1" fmla="*/ 411 h 411"/>
                <a:gd name="T2" fmla="*/ 249 w 249"/>
                <a:gd name="T3" fmla="*/ 411 h 411"/>
                <a:gd name="T4" fmla="*/ 221 w 249"/>
                <a:gd name="T5" fmla="*/ 365 h 411"/>
                <a:gd name="T6" fmla="*/ 194 w 249"/>
                <a:gd name="T7" fmla="*/ 319 h 411"/>
                <a:gd name="T8" fmla="*/ 194 w 249"/>
                <a:gd name="T9" fmla="*/ 319 h 411"/>
                <a:gd name="T10" fmla="*/ 166 w 249"/>
                <a:gd name="T11" fmla="*/ 274 h 411"/>
                <a:gd name="T12" fmla="*/ 138 w 249"/>
                <a:gd name="T13" fmla="*/ 228 h 411"/>
                <a:gd name="T14" fmla="*/ 138 w 249"/>
                <a:gd name="T15" fmla="*/ 228 h 411"/>
                <a:gd name="T16" fmla="*/ 111 w 249"/>
                <a:gd name="T17" fmla="*/ 183 h 411"/>
                <a:gd name="T18" fmla="*/ 83 w 249"/>
                <a:gd name="T19" fmla="*/ 137 h 411"/>
                <a:gd name="T20" fmla="*/ 83 w 249"/>
                <a:gd name="T21" fmla="*/ 137 h 411"/>
                <a:gd name="T22" fmla="*/ 55 w 249"/>
                <a:gd name="T23" fmla="*/ 91 h 411"/>
                <a:gd name="T24" fmla="*/ 28 w 249"/>
                <a:gd name="T25" fmla="*/ 46 h 411"/>
                <a:gd name="T26" fmla="*/ 28 w 249"/>
                <a:gd name="T27" fmla="*/ 46 h 411"/>
                <a:gd name="T28" fmla="*/ 0 w 249"/>
                <a:gd name="T29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9" h="411">
                  <a:moveTo>
                    <a:pt x="249" y="411"/>
                  </a:moveTo>
                  <a:lnTo>
                    <a:pt x="249" y="411"/>
                  </a:lnTo>
                  <a:lnTo>
                    <a:pt x="221" y="365"/>
                  </a:lnTo>
                  <a:moveTo>
                    <a:pt x="194" y="319"/>
                  </a:moveTo>
                  <a:lnTo>
                    <a:pt x="194" y="319"/>
                  </a:lnTo>
                  <a:lnTo>
                    <a:pt x="166" y="274"/>
                  </a:lnTo>
                  <a:moveTo>
                    <a:pt x="138" y="228"/>
                  </a:moveTo>
                  <a:lnTo>
                    <a:pt x="138" y="228"/>
                  </a:lnTo>
                  <a:lnTo>
                    <a:pt x="111" y="183"/>
                  </a:lnTo>
                  <a:moveTo>
                    <a:pt x="83" y="137"/>
                  </a:moveTo>
                  <a:lnTo>
                    <a:pt x="83" y="137"/>
                  </a:lnTo>
                  <a:lnTo>
                    <a:pt x="55" y="91"/>
                  </a:lnTo>
                  <a:moveTo>
                    <a:pt x="28" y="46"/>
                  </a:moveTo>
                  <a:lnTo>
                    <a:pt x="28" y="4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5" name="Freeform 134"/>
            <p:cNvSpPr>
              <a:spLocks noEditPoints="1"/>
            </p:cNvSpPr>
            <p:nvPr/>
          </p:nvSpPr>
          <p:spPr bwMode="auto">
            <a:xfrm>
              <a:off x="4343" y="1810"/>
              <a:ext cx="12" cy="117"/>
            </a:xfrm>
            <a:custGeom>
              <a:avLst/>
              <a:gdLst>
                <a:gd name="T0" fmla="*/ 0 w 60"/>
                <a:gd name="T1" fmla="*/ 546 h 546"/>
                <a:gd name="T2" fmla="*/ 0 w 60"/>
                <a:gd name="T3" fmla="*/ 546 h 546"/>
                <a:gd name="T4" fmla="*/ 6 w 60"/>
                <a:gd name="T5" fmla="*/ 493 h 546"/>
                <a:gd name="T6" fmla="*/ 12 w 60"/>
                <a:gd name="T7" fmla="*/ 440 h 546"/>
                <a:gd name="T8" fmla="*/ 12 w 60"/>
                <a:gd name="T9" fmla="*/ 440 h 546"/>
                <a:gd name="T10" fmla="*/ 18 w 60"/>
                <a:gd name="T11" fmla="*/ 387 h 546"/>
                <a:gd name="T12" fmla="*/ 23 w 60"/>
                <a:gd name="T13" fmla="*/ 334 h 546"/>
                <a:gd name="T14" fmla="*/ 23 w 60"/>
                <a:gd name="T15" fmla="*/ 334 h 546"/>
                <a:gd name="T16" fmla="*/ 29 w 60"/>
                <a:gd name="T17" fmla="*/ 281 h 546"/>
                <a:gd name="T18" fmla="*/ 35 w 60"/>
                <a:gd name="T19" fmla="*/ 228 h 546"/>
                <a:gd name="T20" fmla="*/ 35 w 60"/>
                <a:gd name="T21" fmla="*/ 228 h 546"/>
                <a:gd name="T22" fmla="*/ 41 w 60"/>
                <a:gd name="T23" fmla="*/ 175 h 546"/>
                <a:gd name="T24" fmla="*/ 47 w 60"/>
                <a:gd name="T25" fmla="*/ 122 h 546"/>
                <a:gd name="T26" fmla="*/ 47 w 60"/>
                <a:gd name="T27" fmla="*/ 122 h 546"/>
                <a:gd name="T28" fmla="*/ 53 w 60"/>
                <a:gd name="T29" fmla="*/ 69 h 546"/>
                <a:gd name="T30" fmla="*/ 58 w 60"/>
                <a:gd name="T31" fmla="*/ 16 h 546"/>
                <a:gd name="T32" fmla="*/ 58 w 60"/>
                <a:gd name="T33" fmla="*/ 16 h 546"/>
                <a:gd name="T34" fmla="*/ 60 w 60"/>
                <a:gd name="T35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546">
                  <a:moveTo>
                    <a:pt x="0" y="546"/>
                  </a:moveTo>
                  <a:lnTo>
                    <a:pt x="0" y="546"/>
                  </a:lnTo>
                  <a:lnTo>
                    <a:pt x="6" y="493"/>
                  </a:lnTo>
                  <a:moveTo>
                    <a:pt x="12" y="440"/>
                  </a:moveTo>
                  <a:lnTo>
                    <a:pt x="12" y="440"/>
                  </a:lnTo>
                  <a:lnTo>
                    <a:pt x="18" y="387"/>
                  </a:lnTo>
                  <a:moveTo>
                    <a:pt x="23" y="334"/>
                  </a:moveTo>
                  <a:lnTo>
                    <a:pt x="23" y="334"/>
                  </a:lnTo>
                  <a:lnTo>
                    <a:pt x="29" y="281"/>
                  </a:lnTo>
                  <a:moveTo>
                    <a:pt x="35" y="228"/>
                  </a:moveTo>
                  <a:lnTo>
                    <a:pt x="35" y="228"/>
                  </a:lnTo>
                  <a:lnTo>
                    <a:pt x="41" y="175"/>
                  </a:lnTo>
                  <a:moveTo>
                    <a:pt x="47" y="122"/>
                  </a:moveTo>
                  <a:lnTo>
                    <a:pt x="47" y="122"/>
                  </a:lnTo>
                  <a:lnTo>
                    <a:pt x="53" y="69"/>
                  </a:lnTo>
                  <a:moveTo>
                    <a:pt x="58" y="16"/>
                  </a:moveTo>
                  <a:lnTo>
                    <a:pt x="58" y="16"/>
                  </a:lnTo>
                  <a:lnTo>
                    <a:pt x="6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6" name="Freeform 135"/>
            <p:cNvSpPr>
              <a:spLocks noEditPoints="1"/>
            </p:cNvSpPr>
            <p:nvPr/>
          </p:nvSpPr>
          <p:spPr bwMode="auto">
            <a:xfrm>
              <a:off x="4318" y="1712"/>
              <a:ext cx="31" cy="74"/>
            </a:xfrm>
            <a:custGeom>
              <a:avLst/>
              <a:gdLst>
                <a:gd name="T0" fmla="*/ 143 w 143"/>
                <a:gd name="T1" fmla="*/ 345 h 345"/>
                <a:gd name="T2" fmla="*/ 143 w 143"/>
                <a:gd name="T3" fmla="*/ 345 h 345"/>
                <a:gd name="T4" fmla="*/ 123 w 143"/>
                <a:gd name="T5" fmla="*/ 295 h 345"/>
                <a:gd name="T6" fmla="*/ 102 w 143"/>
                <a:gd name="T7" fmla="*/ 246 h 345"/>
                <a:gd name="T8" fmla="*/ 102 w 143"/>
                <a:gd name="T9" fmla="*/ 246 h 345"/>
                <a:gd name="T10" fmla="*/ 82 w 143"/>
                <a:gd name="T11" fmla="*/ 197 h 345"/>
                <a:gd name="T12" fmla="*/ 61 w 143"/>
                <a:gd name="T13" fmla="*/ 148 h 345"/>
                <a:gd name="T14" fmla="*/ 61 w 143"/>
                <a:gd name="T15" fmla="*/ 148 h 345"/>
                <a:gd name="T16" fmla="*/ 41 w 143"/>
                <a:gd name="T17" fmla="*/ 98 h 345"/>
                <a:gd name="T18" fmla="*/ 20 w 143"/>
                <a:gd name="T19" fmla="*/ 49 h 345"/>
                <a:gd name="T20" fmla="*/ 20 w 143"/>
                <a:gd name="T21" fmla="*/ 49 h 345"/>
                <a:gd name="T22" fmla="*/ 0 w 143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345">
                  <a:moveTo>
                    <a:pt x="143" y="345"/>
                  </a:moveTo>
                  <a:lnTo>
                    <a:pt x="143" y="345"/>
                  </a:lnTo>
                  <a:lnTo>
                    <a:pt x="123" y="295"/>
                  </a:lnTo>
                  <a:moveTo>
                    <a:pt x="102" y="246"/>
                  </a:moveTo>
                  <a:lnTo>
                    <a:pt x="102" y="246"/>
                  </a:lnTo>
                  <a:lnTo>
                    <a:pt x="82" y="197"/>
                  </a:lnTo>
                  <a:moveTo>
                    <a:pt x="61" y="148"/>
                  </a:moveTo>
                  <a:lnTo>
                    <a:pt x="61" y="148"/>
                  </a:lnTo>
                  <a:lnTo>
                    <a:pt x="41" y="98"/>
                  </a:lnTo>
                  <a:moveTo>
                    <a:pt x="20" y="49"/>
                  </a:moveTo>
                  <a:lnTo>
                    <a:pt x="20" y="4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7" name="Freeform 136"/>
            <p:cNvSpPr>
              <a:spLocks noEditPoints="1"/>
            </p:cNvSpPr>
            <p:nvPr/>
          </p:nvSpPr>
          <p:spPr bwMode="auto">
            <a:xfrm>
              <a:off x="4191" y="1701"/>
              <a:ext cx="108" cy="62"/>
            </a:xfrm>
            <a:custGeom>
              <a:avLst/>
              <a:gdLst>
                <a:gd name="T0" fmla="*/ 510 w 510"/>
                <a:gd name="T1" fmla="*/ 0 h 290"/>
                <a:gd name="T2" fmla="*/ 510 w 510"/>
                <a:gd name="T3" fmla="*/ 0 h 290"/>
                <a:gd name="T4" fmla="*/ 463 w 510"/>
                <a:gd name="T5" fmla="*/ 26 h 290"/>
                <a:gd name="T6" fmla="*/ 417 w 510"/>
                <a:gd name="T7" fmla="*/ 52 h 290"/>
                <a:gd name="T8" fmla="*/ 417 w 510"/>
                <a:gd name="T9" fmla="*/ 52 h 290"/>
                <a:gd name="T10" fmla="*/ 371 w 510"/>
                <a:gd name="T11" fmla="*/ 79 h 290"/>
                <a:gd name="T12" fmla="*/ 324 w 510"/>
                <a:gd name="T13" fmla="*/ 105 h 290"/>
                <a:gd name="T14" fmla="*/ 324 w 510"/>
                <a:gd name="T15" fmla="*/ 105 h 290"/>
                <a:gd name="T16" fmla="*/ 278 w 510"/>
                <a:gd name="T17" fmla="*/ 131 h 290"/>
                <a:gd name="T18" fmla="*/ 232 w 510"/>
                <a:gd name="T19" fmla="*/ 158 h 290"/>
                <a:gd name="T20" fmla="*/ 232 w 510"/>
                <a:gd name="T21" fmla="*/ 158 h 290"/>
                <a:gd name="T22" fmla="*/ 185 w 510"/>
                <a:gd name="T23" fmla="*/ 184 h 290"/>
                <a:gd name="T24" fmla="*/ 139 w 510"/>
                <a:gd name="T25" fmla="*/ 210 h 290"/>
                <a:gd name="T26" fmla="*/ 139 w 510"/>
                <a:gd name="T27" fmla="*/ 210 h 290"/>
                <a:gd name="T28" fmla="*/ 92 w 510"/>
                <a:gd name="T29" fmla="*/ 237 h 290"/>
                <a:gd name="T30" fmla="*/ 46 w 510"/>
                <a:gd name="T31" fmla="*/ 263 h 290"/>
                <a:gd name="T32" fmla="*/ 46 w 510"/>
                <a:gd name="T33" fmla="*/ 263 h 290"/>
                <a:gd name="T34" fmla="*/ 0 w 510"/>
                <a:gd name="T35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290">
                  <a:moveTo>
                    <a:pt x="510" y="0"/>
                  </a:moveTo>
                  <a:lnTo>
                    <a:pt x="510" y="0"/>
                  </a:lnTo>
                  <a:lnTo>
                    <a:pt x="463" y="26"/>
                  </a:lnTo>
                  <a:moveTo>
                    <a:pt x="417" y="52"/>
                  </a:moveTo>
                  <a:lnTo>
                    <a:pt x="417" y="52"/>
                  </a:lnTo>
                  <a:lnTo>
                    <a:pt x="371" y="79"/>
                  </a:lnTo>
                  <a:moveTo>
                    <a:pt x="324" y="105"/>
                  </a:moveTo>
                  <a:lnTo>
                    <a:pt x="324" y="105"/>
                  </a:lnTo>
                  <a:lnTo>
                    <a:pt x="278" y="131"/>
                  </a:lnTo>
                  <a:moveTo>
                    <a:pt x="232" y="158"/>
                  </a:moveTo>
                  <a:lnTo>
                    <a:pt x="232" y="158"/>
                  </a:lnTo>
                  <a:lnTo>
                    <a:pt x="185" y="184"/>
                  </a:lnTo>
                  <a:moveTo>
                    <a:pt x="139" y="210"/>
                  </a:moveTo>
                  <a:lnTo>
                    <a:pt x="139" y="210"/>
                  </a:lnTo>
                  <a:lnTo>
                    <a:pt x="92" y="237"/>
                  </a:lnTo>
                  <a:moveTo>
                    <a:pt x="46" y="263"/>
                  </a:moveTo>
                  <a:lnTo>
                    <a:pt x="46" y="263"/>
                  </a:lnTo>
                  <a:lnTo>
                    <a:pt x="0" y="29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8" name="Freeform 137"/>
            <p:cNvSpPr>
              <a:spLocks noEditPoints="1"/>
            </p:cNvSpPr>
            <p:nvPr/>
          </p:nvSpPr>
          <p:spPr bwMode="auto">
            <a:xfrm>
              <a:off x="4281" y="1703"/>
              <a:ext cx="22" cy="117"/>
            </a:xfrm>
            <a:custGeom>
              <a:avLst/>
              <a:gdLst>
                <a:gd name="T0" fmla="*/ 103 w 103"/>
                <a:gd name="T1" fmla="*/ 0 h 549"/>
                <a:gd name="T2" fmla="*/ 103 w 103"/>
                <a:gd name="T3" fmla="*/ 0 h 549"/>
                <a:gd name="T4" fmla="*/ 93 w 103"/>
                <a:gd name="T5" fmla="*/ 53 h 549"/>
                <a:gd name="T6" fmla="*/ 83 w 103"/>
                <a:gd name="T7" fmla="*/ 105 h 549"/>
                <a:gd name="T8" fmla="*/ 83 w 103"/>
                <a:gd name="T9" fmla="*/ 105 h 549"/>
                <a:gd name="T10" fmla="*/ 73 w 103"/>
                <a:gd name="T11" fmla="*/ 158 h 549"/>
                <a:gd name="T12" fmla="*/ 64 w 103"/>
                <a:gd name="T13" fmla="*/ 210 h 549"/>
                <a:gd name="T14" fmla="*/ 64 w 103"/>
                <a:gd name="T15" fmla="*/ 210 h 549"/>
                <a:gd name="T16" fmla="*/ 54 w 103"/>
                <a:gd name="T17" fmla="*/ 263 h 549"/>
                <a:gd name="T18" fmla="*/ 44 w 103"/>
                <a:gd name="T19" fmla="*/ 315 h 549"/>
                <a:gd name="T20" fmla="*/ 44 w 103"/>
                <a:gd name="T21" fmla="*/ 315 h 549"/>
                <a:gd name="T22" fmla="*/ 34 w 103"/>
                <a:gd name="T23" fmla="*/ 367 h 549"/>
                <a:gd name="T24" fmla="*/ 24 w 103"/>
                <a:gd name="T25" fmla="*/ 420 h 549"/>
                <a:gd name="T26" fmla="*/ 24 w 103"/>
                <a:gd name="T27" fmla="*/ 420 h 549"/>
                <a:gd name="T28" fmla="*/ 15 w 103"/>
                <a:gd name="T29" fmla="*/ 472 h 549"/>
                <a:gd name="T30" fmla="*/ 5 w 103"/>
                <a:gd name="T31" fmla="*/ 525 h 549"/>
                <a:gd name="T32" fmla="*/ 5 w 103"/>
                <a:gd name="T33" fmla="*/ 525 h 549"/>
                <a:gd name="T34" fmla="*/ 0 w 103"/>
                <a:gd name="T35" fmla="*/ 54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549">
                  <a:moveTo>
                    <a:pt x="103" y="0"/>
                  </a:moveTo>
                  <a:lnTo>
                    <a:pt x="103" y="0"/>
                  </a:lnTo>
                  <a:lnTo>
                    <a:pt x="93" y="53"/>
                  </a:lnTo>
                  <a:moveTo>
                    <a:pt x="83" y="105"/>
                  </a:moveTo>
                  <a:lnTo>
                    <a:pt x="83" y="105"/>
                  </a:lnTo>
                  <a:lnTo>
                    <a:pt x="73" y="158"/>
                  </a:lnTo>
                  <a:moveTo>
                    <a:pt x="64" y="210"/>
                  </a:moveTo>
                  <a:lnTo>
                    <a:pt x="64" y="210"/>
                  </a:lnTo>
                  <a:lnTo>
                    <a:pt x="54" y="263"/>
                  </a:lnTo>
                  <a:moveTo>
                    <a:pt x="44" y="315"/>
                  </a:moveTo>
                  <a:lnTo>
                    <a:pt x="44" y="315"/>
                  </a:lnTo>
                  <a:lnTo>
                    <a:pt x="34" y="367"/>
                  </a:lnTo>
                  <a:moveTo>
                    <a:pt x="24" y="420"/>
                  </a:moveTo>
                  <a:lnTo>
                    <a:pt x="24" y="420"/>
                  </a:lnTo>
                  <a:lnTo>
                    <a:pt x="15" y="472"/>
                  </a:lnTo>
                  <a:moveTo>
                    <a:pt x="5" y="525"/>
                  </a:moveTo>
                  <a:lnTo>
                    <a:pt x="5" y="525"/>
                  </a:lnTo>
                  <a:lnTo>
                    <a:pt x="0" y="549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39" name="Freeform 138"/>
            <p:cNvSpPr>
              <a:spLocks noEditPoints="1"/>
            </p:cNvSpPr>
            <p:nvPr/>
          </p:nvSpPr>
          <p:spPr bwMode="auto">
            <a:xfrm>
              <a:off x="4292" y="1806"/>
              <a:ext cx="54" cy="18"/>
            </a:xfrm>
            <a:custGeom>
              <a:avLst/>
              <a:gdLst>
                <a:gd name="T0" fmla="*/ 253 w 253"/>
                <a:gd name="T1" fmla="*/ 0 h 84"/>
                <a:gd name="T2" fmla="*/ 253 w 253"/>
                <a:gd name="T3" fmla="*/ 0 h 84"/>
                <a:gd name="T4" fmla="*/ 202 w 253"/>
                <a:gd name="T5" fmla="*/ 17 h 84"/>
                <a:gd name="T6" fmla="*/ 151 w 253"/>
                <a:gd name="T7" fmla="*/ 33 h 84"/>
                <a:gd name="T8" fmla="*/ 151 w 253"/>
                <a:gd name="T9" fmla="*/ 33 h 84"/>
                <a:gd name="T10" fmla="*/ 101 w 253"/>
                <a:gd name="T11" fmla="*/ 50 h 84"/>
                <a:gd name="T12" fmla="*/ 50 w 253"/>
                <a:gd name="T13" fmla="*/ 67 h 84"/>
                <a:gd name="T14" fmla="*/ 50 w 253"/>
                <a:gd name="T15" fmla="*/ 67 h 84"/>
                <a:gd name="T16" fmla="*/ 0 w 253"/>
                <a:gd name="T1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84">
                  <a:moveTo>
                    <a:pt x="253" y="0"/>
                  </a:moveTo>
                  <a:lnTo>
                    <a:pt x="253" y="0"/>
                  </a:lnTo>
                  <a:lnTo>
                    <a:pt x="202" y="17"/>
                  </a:lnTo>
                  <a:moveTo>
                    <a:pt x="151" y="33"/>
                  </a:moveTo>
                  <a:lnTo>
                    <a:pt x="151" y="33"/>
                  </a:lnTo>
                  <a:lnTo>
                    <a:pt x="101" y="50"/>
                  </a:lnTo>
                  <a:moveTo>
                    <a:pt x="50" y="67"/>
                  </a:moveTo>
                  <a:lnTo>
                    <a:pt x="50" y="67"/>
                  </a:lnTo>
                  <a:lnTo>
                    <a:pt x="0" y="84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0" name="Freeform 139"/>
            <p:cNvSpPr>
              <a:spLocks noEditPoints="1"/>
            </p:cNvSpPr>
            <p:nvPr/>
          </p:nvSpPr>
          <p:spPr bwMode="auto">
            <a:xfrm>
              <a:off x="4309" y="1714"/>
              <a:ext cx="27" cy="214"/>
            </a:xfrm>
            <a:custGeom>
              <a:avLst/>
              <a:gdLst>
                <a:gd name="T0" fmla="*/ 125 w 125"/>
                <a:gd name="T1" fmla="*/ 1005 h 1005"/>
                <a:gd name="T2" fmla="*/ 125 w 125"/>
                <a:gd name="T3" fmla="*/ 1005 h 1005"/>
                <a:gd name="T4" fmla="*/ 119 w 125"/>
                <a:gd name="T5" fmla="*/ 952 h 1005"/>
                <a:gd name="T6" fmla="*/ 112 w 125"/>
                <a:gd name="T7" fmla="*/ 899 h 1005"/>
                <a:gd name="T8" fmla="*/ 112 w 125"/>
                <a:gd name="T9" fmla="*/ 899 h 1005"/>
                <a:gd name="T10" fmla="*/ 105 w 125"/>
                <a:gd name="T11" fmla="*/ 846 h 1005"/>
                <a:gd name="T12" fmla="*/ 99 w 125"/>
                <a:gd name="T13" fmla="*/ 794 h 1005"/>
                <a:gd name="T14" fmla="*/ 99 w 125"/>
                <a:gd name="T15" fmla="*/ 794 h 1005"/>
                <a:gd name="T16" fmla="*/ 92 w 125"/>
                <a:gd name="T17" fmla="*/ 741 h 1005"/>
                <a:gd name="T18" fmla="*/ 86 w 125"/>
                <a:gd name="T19" fmla="*/ 688 h 1005"/>
                <a:gd name="T20" fmla="*/ 86 w 125"/>
                <a:gd name="T21" fmla="*/ 688 h 1005"/>
                <a:gd name="T22" fmla="*/ 79 w 125"/>
                <a:gd name="T23" fmla="*/ 635 h 1005"/>
                <a:gd name="T24" fmla="*/ 73 w 125"/>
                <a:gd name="T25" fmla="*/ 582 h 1005"/>
                <a:gd name="T26" fmla="*/ 73 w 125"/>
                <a:gd name="T27" fmla="*/ 582 h 1005"/>
                <a:gd name="T28" fmla="*/ 66 w 125"/>
                <a:gd name="T29" fmla="*/ 529 h 1005"/>
                <a:gd name="T30" fmla="*/ 59 w 125"/>
                <a:gd name="T31" fmla="*/ 476 h 1005"/>
                <a:gd name="T32" fmla="*/ 59 w 125"/>
                <a:gd name="T33" fmla="*/ 476 h 1005"/>
                <a:gd name="T34" fmla="*/ 53 w 125"/>
                <a:gd name="T35" fmla="*/ 423 h 1005"/>
                <a:gd name="T36" fmla="*/ 46 w 125"/>
                <a:gd name="T37" fmla="*/ 370 h 1005"/>
                <a:gd name="T38" fmla="*/ 46 w 125"/>
                <a:gd name="T39" fmla="*/ 370 h 1005"/>
                <a:gd name="T40" fmla="*/ 40 w 125"/>
                <a:gd name="T41" fmla="*/ 317 h 1005"/>
                <a:gd name="T42" fmla="*/ 33 w 125"/>
                <a:gd name="T43" fmla="*/ 264 h 1005"/>
                <a:gd name="T44" fmla="*/ 33 w 125"/>
                <a:gd name="T45" fmla="*/ 264 h 1005"/>
                <a:gd name="T46" fmla="*/ 27 w 125"/>
                <a:gd name="T47" fmla="*/ 211 h 1005"/>
                <a:gd name="T48" fmla="*/ 20 w 125"/>
                <a:gd name="T49" fmla="*/ 158 h 1005"/>
                <a:gd name="T50" fmla="*/ 20 w 125"/>
                <a:gd name="T51" fmla="*/ 158 h 1005"/>
                <a:gd name="T52" fmla="*/ 14 w 125"/>
                <a:gd name="T53" fmla="*/ 105 h 1005"/>
                <a:gd name="T54" fmla="*/ 7 w 125"/>
                <a:gd name="T55" fmla="*/ 53 h 1005"/>
                <a:gd name="T56" fmla="*/ 7 w 125"/>
                <a:gd name="T57" fmla="*/ 53 h 1005"/>
                <a:gd name="T58" fmla="*/ 0 w 125"/>
                <a:gd name="T59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" h="1005">
                  <a:moveTo>
                    <a:pt x="125" y="1005"/>
                  </a:moveTo>
                  <a:lnTo>
                    <a:pt x="125" y="1005"/>
                  </a:lnTo>
                  <a:lnTo>
                    <a:pt x="119" y="952"/>
                  </a:lnTo>
                  <a:moveTo>
                    <a:pt x="112" y="899"/>
                  </a:moveTo>
                  <a:lnTo>
                    <a:pt x="112" y="899"/>
                  </a:lnTo>
                  <a:lnTo>
                    <a:pt x="105" y="846"/>
                  </a:lnTo>
                  <a:moveTo>
                    <a:pt x="99" y="794"/>
                  </a:moveTo>
                  <a:lnTo>
                    <a:pt x="99" y="794"/>
                  </a:lnTo>
                  <a:lnTo>
                    <a:pt x="92" y="741"/>
                  </a:lnTo>
                  <a:moveTo>
                    <a:pt x="86" y="688"/>
                  </a:moveTo>
                  <a:lnTo>
                    <a:pt x="86" y="688"/>
                  </a:lnTo>
                  <a:lnTo>
                    <a:pt x="79" y="635"/>
                  </a:lnTo>
                  <a:moveTo>
                    <a:pt x="73" y="582"/>
                  </a:moveTo>
                  <a:lnTo>
                    <a:pt x="73" y="582"/>
                  </a:lnTo>
                  <a:lnTo>
                    <a:pt x="66" y="529"/>
                  </a:lnTo>
                  <a:moveTo>
                    <a:pt x="59" y="476"/>
                  </a:moveTo>
                  <a:lnTo>
                    <a:pt x="59" y="476"/>
                  </a:lnTo>
                  <a:lnTo>
                    <a:pt x="53" y="423"/>
                  </a:lnTo>
                  <a:moveTo>
                    <a:pt x="46" y="370"/>
                  </a:moveTo>
                  <a:lnTo>
                    <a:pt x="46" y="370"/>
                  </a:lnTo>
                  <a:lnTo>
                    <a:pt x="40" y="317"/>
                  </a:lnTo>
                  <a:moveTo>
                    <a:pt x="33" y="264"/>
                  </a:moveTo>
                  <a:lnTo>
                    <a:pt x="33" y="264"/>
                  </a:lnTo>
                  <a:lnTo>
                    <a:pt x="27" y="211"/>
                  </a:lnTo>
                  <a:moveTo>
                    <a:pt x="20" y="158"/>
                  </a:moveTo>
                  <a:lnTo>
                    <a:pt x="20" y="158"/>
                  </a:lnTo>
                  <a:lnTo>
                    <a:pt x="14" y="105"/>
                  </a:lnTo>
                  <a:moveTo>
                    <a:pt x="7" y="53"/>
                  </a:moveTo>
                  <a:lnTo>
                    <a:pt x="7" y="5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1" name="Freeform 140"/>
            <p:cNvSpPr>
              <a:spLocks noEditPoints="1"/>
            </p:cNvSpPr>
            <p:nvPr/>
          </p:nvSpPr>
          <p:spPr bwMode="auto">
            <a:xfrm>
              <a:off x="4237" y="1844"/>
              <a:ext cx="37" cy="134"/>
            </a:xfrm>
            <a:custGeom>
              <a:avLst/>
              <a:gdLst>
                <a:gd name="T0" fmla="*/ 173 w 173"/>
                <a:gd name="T1" fmla="*/ 0 h 626"/>
                <a:gd name="T2" fmla="*/ 173 w 173"/>
                <a:gd name="T3" fmla="*/ 0 h 626"/>
                <a:gd name="T4" fmla="*/ 159 w 173"/>
                <a:gd name="T5" fmla="*/ 51 h 626"/>
                <a:gd name="T6" fmla="*/ 145 w 173"/>
                <a:gd name="T7" fmla="*/ 102 h 626"/>
                <a:gd name="T8" fmla="*/ 145 w 173"/>
                <a:gd name="T9" fmla="*/ 102 h 626"/>
                <a:gd name="T10" fmla="*/ 131 w 173"/>
                <a:gd name="T11" fmla="*/ 154 h 626"/>
                <a:gd name="T12" fmla="*/ 116 w 173"/>
                <a:gd name="T13" fmla="*/ 205 h 626"/>
                <a:gd name="T14" fmla="*/ 116 w 173"/>
                <a:gd name="T15" fmla="*/ 205 h 626"/>
                <a:gd name="T16" fmla="*/ 102 w 173"/>
                <a:gd name="T17" fmla="*/ 257 h 626"/>
                <a:gd name="T18" fmla="*/ 88 w 173"/>
                <a:gd name="T19" fmla="*/ 308 h 626"/>
                <a:gd name="T20" fmla="*/ 88 w 173"/>
                <a:gd name="T21" fmla="*/ 308 h 626"/>
                <a:gd name="T22" fmla="*/ 74 w 173"/>
                <a:gd name="T23" fmla="*/ 359 h 626"/>
                <a:gd name="T24" fmla="*/ 59 w 173"/>
                <a:gd name="T25" fmla="*/ 411 h 626"/>
                <a:gd name="T26" fmla="*/ 59 w 173"/>
                <a:gd name="T27" fmla="*/ 411 h 626"/>
                <a:gd name="T28" fmla="*/ 45 w 173"/>
                <a:gd name="T29" fmla="*/ 462 h 626"/>
                <a:gd name="T30" fmla="*/ 31 w 173"/>
                <a:gd name="T31" fmla="*/ 514 h 626"/>
                <a:gd name="T32" fmla="*/ 31 w 173"/>
                <a:gd name="T33" fmla="*/ 514 h 626"/>
                <a:gd name="T34" fmla="*/ 17 w 173"/>
                <a:gd name="T35" fmla="*/ 565 h 626"/>
                <a:gd name="T36" fmla="*/ 3 w 173"/>
                <a:gd name="T37" fmla="*/ 616 h 626"/>
                <a:gd name="T38" fmla="*/ 3 w 173"/>
                <a:gd name="T39" fmla="*/ 616 h 626"/>
                <a:gd name="T40" fmla="*/ 0 w 173"/>
                <a:gd name="T41" fmla="*/ 62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3" h="626">
                  <a:moveTo>
                    <a:pt x="173" y="0"/>
                  </a:moveTo>
                  <a:lnTo>
                    <a:pt x="173" y="0"/>
                  </a:lnTo>
                  <a:lnTo>
                    <a:pt x="159" y="51"/>
                  </a:lnTo>
                  <a:moveTo>
                    <a:pt x="145" y="102"/>
                  </a:moveTo>
                  <a:lnTo>
                    <a:pt x="145" y="102"/>
                  </a:lnTo>
                  <a:lnTo>
                    <a:pt x="131" y="154"/>
                  </a:lnTo>
                  <a:moveTo>
                    <a:pt x="116" y="205"/>
                  </a:moveTo>
                  <a:lnTo>
                    <a:pt x="116" y="205"/>
                  </a:lnTo>
                  <a:lnTo>
                    <a:pt x="102" y="257"/>
                  </a:lnTo>
                  <a:moveTo>
                    <a:pt x="88" y="308"/>
                  </a:moveTo>
                  <a:lnTo>
                    <a:pt x="88" y="308"/>
                  </a:lnTo>
                  <a:lnTo>
                    <a:pt x="74" y="359"/>
                  </a:lnTo>
                  <a:moveTo>
                    <a:pt x="59" y="411"/>
                  </a:moveTo>
                  <a:lnTo>
                    <a:pt x="59" y="411"/>
                  </a:lnTo>
                  <a:lnTo>
                    <a:pt x="45" y="462"/>
                  </a:lnTo>
                  <a:moveTo>
                    <a:pt x="31" y="514"/>
                  </a:moveTo>
                  <a:lnTo>
                    <a:pt x="31" y="514"/>
                  </a:lnTo>
                  <a:lnTo>
                    <a:pt x="17" y="565"/>
                  </a:lnTo>
                  <a:moveTo>
                    <a:pt x="3" y="616"/>
                  </a:moveTo>
                  <a:lnTo>
                    <a:pt x="3" y="616"/>
                  </a:lnTo>
                  <a:lnTo>
                    <a:pt x="0" y="626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2" name="Freeform 141"/>
            <p:cNvSpPr>
              <a:spLocks noEditPoints="1"/>
            </p:cNvSpPr>
            <p:nvPr/>
          </p:nvSpPr>
          <p:spPr bwMode="auto">
            <a:xfrm>
              <a:off x="4155" y="1837"/>
              <a:ext cx="108" cy="49"/>
            </a:xfrm>
            <a:custGeom>
              <a:avLst/>
              <a:gdLst>
                <a:gd name="T0" fmla="*/ 505 w 505"/>
                <a:gd name="T1" fmla="*/ 0 h 227"/>
                <a:gd name="T2" fmla="*/ 505 w 505"/>
                <a:gd name="T3" fmla="*/ 0 h 227"/>
                <a:gd name="T4" fmla="*/ 456 w 505"/>
                <a:gd name="T5" fmla="*/ 21 h 227"/>
                <a:gd name="T6" fmla="*/ 408 w 505"/>
                <a:gd name="T7" fmla="*/ 43 h 227"/>
                <a:gd name="T8" fmla="*/ 408 w 505"/>
                <a:gd name="T9" fmla="*/ 43 h 227"/>
                <a:gd name="T10" fmla="*/ 359 w 505"/>
                <a:gd name="T11" fmla="*/ 65 h 227"/>
                <a:gd name="T12" fmla="*/ 311 w 505"/>
                <a:gd name="T13" fmla="*/ 87 h 227"/>
                <a:gd name="T14" fmla="*/ 311 w 505"/>
                <a:gd name="T15" fmla="*/ 87 h 227"/>
                <a:gd name="T16" fmla="*/ 262 w 505"/>
                <a:gd name="T17" fmla="*/ 109 h 227"/>
                <a:gd name="T18" fmla="*/ 213 w 505"/>
                <a:gd name="T19" fmla="*/ 131 h 227"/>
                <a:gd name="T20" fmla="*/ 213 w 505"/>
                <a:gd name="T21" fmla="*/ 131 h 227"/>
                <a:gd name="T22" fmla="*/ 165 w 505"/>
                <a:gd name="T23" fmla="*/ 153 h 227"/>
                <a:gd name="T24" fmla="*/ 116 w 505"/>
                <a:gd name="T25" fmla="*/ 175 h 227"/>
                <a:gd name="T26" fmla="*/ 116 w 505"/>
                <a:gd name="T27" fmla="*/ 175 h 227"/>
                <a:gd name="T28" fmla="*/ 67 w 505"/>
                <a:gd name="T29" fmla="*/ 197 h 227"/>
                <a:gd name="T30" fmla="*/ 19 w 505"/>
                <a:gd name="T31" fmla="*/ 219 h 227"/>
                <a:gd name="T32" fmla="*/ 19 w 505"/>
                <a:gd name="T33" fmla="*/ 219 h 227"/>
                <a:gd name="T34" fmla="*/ 0 w 505"/>
                <a:gd name="T3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5" h="227">
                  <a:moveTo>
                    <a:pt x="505" y="0"/>
                  </a:moveTo>
                  <a:lnTo>
                    <a:pt x="505" y="0"/>
                  </a:lnTo>
                  <a:lnTo>
                    <a:pt x="456" y="21"/>
                  </a:lnTo>
                  <a:moveTo>
                    <a:pt x="408" y="43"/>
                  </a:moveTo>
                  <a:lnTo>
                    <a:pt x="408" y="43"/>
                  </a:lnTo>
                  <a:lnTo>
                    <a:pt x="359" y="65"/>
                  </a:lnTo>
                  <a:moveTo>
                    <a:pt x="311" y="87"/>
                  </a:moveTo>
                  <a:lnTo>
                    <a:pt x="311" y="87"/>
                  </a:lnTo>
                  <a:lnTo>
                    <a:pt x="262" y="109"/>
                  </a:lnTo>
                  <a:moveTo>
                    <a:pt x="213" y="131"/>
                  </a:moveTo>
                  <a:lnTo>
                    <a:pt x="213" y="131"/>
                  </a:lnTo>
                  <a:lnTo>
                    <a:pt x="165" y="153"/>
                  </a:lnTo>
                  <a:moveTo>
                    <a:pt x="116" y="175"/>
                  </a:moveTo>
                  <a:lnTo>
                    <a:pt x="116" y="175"/>
                  </a:lnTo>
                  <a:lnTo>
                    <a:pt x="67" y="197"/>
                  </a:lnTo>
                  <a:moveTo>
                    <a:pt x="19" y="219"/>
                  </a:moveTo>
                  <a:lnTo>
                    <a:pt x="19" y="219"/>
                  </a:lnTo>
                  <a:lnTo>
                    <a:pt x="0" y="227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3" name="Freeform 142"/>
            <p:cNvSpPr>
              <a:spLocks noEditPoints="1"/>
            </p:cNvSpPr>
            <p:nvPr/>
          </p:nvSpPr>
          <p:spPr bwMode="auto">
            <a:xfrm>
              <a:off x="4195" y="1783"/>
              <a:ext cx="68" cy="43"/>
            </a:xfrm>
            <a:custGeom>
              <a:avLst/>
              <a:gdLst>
                <a:gd name="T0" fmla="*/ 316 w 316"/>
                <a:gd name="T1" fmla="*/ 199 h 199"/>
                <a:gd name="T2" fmla="*/ 316 w 316"/>
                <a:gd name="T3" fmla="*/ 199 h 199"/>
                <a:gd name="T4" fmla="*/ 271 w 316"/>
                <a:gd name="T5" fmla="*/ 171 h 199"/>
                <a:gd name="T6" fmla="*/ 226 w 316"/>
                <a:gd name="T7" fmla="*/ 142 h 199"/>
                <a:gd name="T8" fmla="*/ 226 w 316"/>
                <a:gd name="T9" fmla="*/ 142 h 199"/>
                <a:gd name="T10" fmla="*/ 181 w 316"/>
                <a:gd name="T11" fmla="*/ 114 h 199"/>
                <a:gd name="T12" fmla="*/ 135 w 316"/>
                <a:gd name="T13" fmla="*/ 85 h 199"/>
                <a:gd name="T14" fmla="*/ 135 w 316"/>
                <a:gd name="T15" fmla="*/ 85 h 199"/>
                <a:gd name="T16" fmla="*/ 90 w 316"/>
                <a:gd name="T17" fmla="*/ 57 h 199"/>
                <a:gd name="T18" fmla="*/ 45 w 316"/>
                <a:gd name="T19" fmla="*/ 28 h 199"/>
                <a:gd name="T20" fmla="*/ 45 w 316"/>
                <a:gd name="T21" fmla="*/ 28 h 199"/>
                <a:gd name="T22" fmla="*/ 0 w 316"/>
                <a:gd name="T2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6" h="199">
                  <a:moveTo>
                    <a:pt x="316" y="199"/>
                  </a:moveTo>
                  <a:lnTo>
                    <a:pt x="316" y="199"/>
                  </a:lnTo>
                  <a:lnTo>
                    <a:pt x="271" y="171"/>
                  </a:lnTo>
                  <a:moveTo>
                    <a:pt x="226" y="142"/>
                  </a:moveTo>
                  <a:lnTo>
                    <a:pt x="226" y="142"/>
                  </a:lnTo>
                  <a:lnTo>
                    <a:pt x="181" y="114"/>
                  </a:lnTo>
                  <a:moveTo>
                    <a:pt x="135" y="85"/>
                  </a:moveTo>
                  <a:lnTo>
                    <a:pt x="135" y="85"/>
                  </a:lnTo>
                  <a:lnTo>
                    <a:pt x="90" y="57"/>
                  </a:lnTo>
                  <a:moveTo>
                    <a:pt x="45" y="28"/>
                  </a:moveTo>
                  <a:lnTo>
                    <a:pt x="45" y="28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4" name="Freeform 143"/>
            <p:cNvSpPr>
              <a:spLocks noEditPoints="1"/>
            </p:cNvSpPr>
            <p:nvPr/>
          </p:nvSpPr>
          <p:spPr bwMode="auto">
            <a:xfrm>
              <a:off x="4183" y="1780"/>
              <a:ext cx="45" cy="202"/>
            </a:xfrm>
            <a:custGeom>
              <a:avLst/>
              <a:gdLst>
                <a:gd name="T0" fmla="*/ 209 w 209"/>
                <a:gd name="T1" fmla="*/ 945 h 945"/>
                <a:gd name="T2" fmla="*/ 209 w 209"/>
                <a:gd name="T3" fmla="*/ 945 h 945"/>
                <a:gd name="T4" fmla="*/ 198 w 209"/>
                <a:gd name="T5" fmla="*/ 893 h 945"/>
                <a:gd name="T6" fmla="*/ 186 w 209"/>
                <a:gd name="T7" fmla="*/ 841 h 945"/>
                <a:gd name="T8" fmla="*/ 186 w 209"/>
                <a:gd name="T9" fmla="*/ 841 h 945"/>
                <a:gd name="T10" fmla="*/ 175 w 209"/>
                <a:gd name="T11" fmla="*/ 789 h 945"/>
                <a:gd name="T12" fmla="*/ 163 w 209"/>
                <a:gd name="T13" fmla="*/ 736 h 945"/>
                <a:gd name="T14" fmla="*/ 163 w 209"/>
                <a:gd name="T15" fmla="*/ 736 h 945"/>
                <a:gd name="T16" fmla="*/ 152 w 209"/>
                <a:gd name="T17" fmla="*/ 684 h 945"/>
                <a:gd name="T18" fmla="*/ 140 w 209"/>
                <a:gd name="T19" fmla="*/ 632 h 945"/>
                <a:gd name="T20" fmla="*/ 140 w 209"/>
                <a:gd name="T21" fmla="*/ 632 h 945"/>
                <a:gd name="T22" fmla="*/ 129 w 209"/>
                <a:gd name="T23" fmla="*/ 580 h 945"/>
                <a:gd name="T24" fmla="*/ 117 w 209"/>
                <a:gd name="T25" fmla="*/ 528 h 945"/>
                <a:gd name="T26" fmla="*/ 117 w 209"/>
                <a:gd name="T27" fmla="*/ 528 h 945"/>
                <a:gd name="T28" fmla="*/ 106 w 209"/>
                <a:gd name="T29" fmla="*/ 476 h 945"/>
                <a:gd name="T30" fmla="*/ 94 w 209"/>
                <a:gd name="T31" fmla="*/ 424 h 945"/>
                <a:gd name="T32" fmla="*/ 94 w 209"/>
                <a:gd name="T33" fmla="*/ 424 h 945"/>
                <a:gd name="T34" fmla="*/ 83 w 209"/>
                <a:gd name="T35" fmla="*/ 372 h 945"/>
                <a:gd name="T36" fmla="*/ 71 w 209"/>
                <a:gd name="T37" fmla="*/ 320 h 945"/>
                <a:gd name="T38" fmla="*/ 71 w 209"/>
                <a:gd name="T39" fmla="*/ 320 h 945"/>
                <a:gd name="T40" fmla="*/ 60 w 209"/>
                <a:gd name="T41" fmla="*/ 268 h 945"/>
                <a:gd name="T42" fmla="*/ 48 w 209"/>
                <a:gd name="T43" fmla="*/ 216 h 945"/>
                <a:gd name="T44" fmla="*/ 48 w 209"/>
                <a:gd name="T45" fmla="*/ 216 h 945"/>
                <a:gd name="T46" fmla="*/ 37 w 209"/>
                <a:gd name="T47" fmla="*/ 164 h 945"/>
                <a:gd name="T48" fmla="*/ 25 w 209"/>
                <a:gd name="T49" fmla="*/ 112 h 945"/>
                <a:gd name="T50" fmla="*/ 25 w 209"/>
                <a:gd name="T51" fmla="*/ 112 h 945"/>
                <a:gd name="T52" fmla="*/ 14 w 209"/>
                <a:gd name="T53" fmla="*/ 59 h 945"/>
                <a:gd name="T54" fmla="*/ 2 w 209"/>
                <a:gd name="T55" fmla="*/ 7 h 945"/>
                <a:gd name="T56" fmla="*/ 2 w 209"/>
                <a:gd name="T57" fmla="*/ 7 h 945"/>
                <a:gd name="T58" fmla="*/ 0 w 209"/>
                <a:gd name="T5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9" h="945">
                  <a:moveTo>
                    <a:pt x="209" y="945"/>
                  </a:moveTo>
                  <a:lnTo>
                    <a:pt x="209" y="945"/>
                  </a:lnTo>
                  <a:lnTo>
                    <a:pt x="198" y="893"/>
                  </a:lnTo>
                  <a:moveTo>
                    <a:pt x="186" y="841"/>
                  </a:moveTo>
                  <a:lnTo>
                    <a:pt x="186" y="841"/>
                  </a:lnTo>
                  <a:lnTo>
                    <a:pt x="175" y="789"/>
                  </a:lnTo>
                  <a:moveTo>
                    <a:pt x="163" y="736"/>
                  </a:moveTo>
                  <a:lnTo>
                    <a:pt x="163" y="736"/>
                  </a:lnTo>
                  <a:lnTo>
                    <a:pt x="152" y="684"/>
                  </a:lnTo>
                  <a:moveTo>
                    <a:pt x="140" y="632"/>
                  </a:moveTo>
                  <a:lnTo>
                    <a:pt x="140" y="632"/>
                  </a:lnTo>
                  <a:lnTo>
                    <a:pt x="129" y="580"/>
                  </a:lnTo>
                  <a:moveTo>
                    <a:pt x="117" y="528"/>
                  </a:moveTo>
                  <a:lnTo>
                    <a:pt x="117" y="528"/>
                  </a:lnTo>
                  <a:lnTo>
                    <a:pt x="106" y="476"/>
                  </a:lnTo>
                  <a:moveTo>
                    <a:pt x="94" y="424"/>
                  </a:moveTo>
                  <a:lnTo>
                    <a:pt x="94" y="424"/>
                  </a:lnTo>
                  <a:lnTo>
                    <a:pt x="83" y="372"/>
                  </a:lnTo>
                  <a:moveTo>
                    <a:pt x="71" y="320"/>
                  </a:moveTo>
                  <a:lnTo>
                    <a:pt x="71" y="320"/>
                  </a:lnTo>
                  <a:lnTo>
                    <a:pt x="60" y="268"/>
                  </a:lnTo>
                  <a:moveTo>
                    <a:pt x="48" y="216"/>
                  </a:moveTo>
                  <a:lnTo>
                    <a:pt x="48" y="216"/>
                  </a:lnTo>
                  <a:lnTo>
                    <a:pt x="37" y="164"/>
                  </a:lnTo>
                  <a:moveTo>
                    <a:pt x="25" y="112"/>
                  </a:moveTo>
                  <a:lnTo>
                    <a:pt x="25" y="112"/>
                  </a:lnTo>
                  <a:lnTo>
                    <a:pt x="14" y="59"/>
                  </a:lnTo>
                  <a:moveTo>
                    <a:pt x="2" y="7"/>
                  </a:move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5" name="Freeform 144"/>
            <p:cNvSpPr>
              <a:spLocks noEditPoints="1"/>
            </p:cNvSpPr>
            <p:nvPr/>
          </p:nvSpPr>
          <p:spPr bwMode="auto">
            <a:xfrm>
              <a:off x="4143" y="1780"/>
              <a:ext cx="28" cy="98"/>
            </a:xfrm>
            <a:custGeom>
              <a:avLst/>
              <a:gdLst>
                <a:gd name="T0" fmla="*/ 0 w 132"/>
                <a:gd name="T1" fmla="*/ 461 h 461"/>
                <a:gd name="T2" fmla="*/ 0 w 132"/>
                <a:gd name="T3" fmla="*/ 461 h 461"/>
                <a:gd name="T4" fmla="*/ 15 w 132"/>
                <a:gd name="T5" fmla="*/ 409 h 461"/>
                <a:gd name="T6" fmla="*/ 29 w 132"/>
                <a:gd name="T7" fmla="*/ 358 h 461"/>
                <a:gd name="T8" fmla="*/ 29 w 132"/>
                <a:gd name="T9" fmla="*/ 358 h 461"/>
                <a:gd name="T10" fmla="*/ 44 w 132"/>
                <a:gd name="T11" fmla="*/ 307 h 461"/>
                <a:gd name="T12" fmla="*/ 59 w 132"/>
                <a:gd name="T13" fmla="*/ 255 h 461"/>
                <a:gd name="T14" fmla="*/ 59 w 132"/>
                <a:gd name="T15" fmla="*/ 255 h 461"/>
                <a:gd name="T16" fmla="*/ 74 w 132"/>
                <a:gd name="T17" fmla="*/ 204 h 461"/>
                <a:gd name="T18" fmla="*/ 88 w 132"/>
                <a:gd name="T19" fmla="*/ 153 h 461"/>
                <a:gd name="T20" fmla="*/ 88 w 132"/>
                <a:gd name="T21" fmla="*/ 153 h 461"/>
                <a:gd name="T22" fmla="*/ 103 w 132"/>
                <a:gd name="T23" fmla="*/ 102 h 461"/>
                <a:gd name="T24" fmla="*/ 118 w 132"/>
                <a:gd name="T25" fmla="*/ 50 h 461"/>
                <a:gd name="T26" fmla="*/ 118 w 132"/>
                <a:gd name="T27" fmla="*/ 50 h 461"/>
                <a:gd name="T28" fmla="*/ 132 w 132"/>
                <a:gd name="T29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461">
                  <a:moveTo>
                    <a:pt x="0" y="461"/>
                  </a:moveTo>
                  <a:lnTo>
                    <a:pt x="0" y="461"/>
                  </a:lnTo>
                  <a:lnTo>
                    <a:pt x="15" y="409"/>
                  </a:lnTo>
                  <a:moveTo>
                    <a:pt x="29" y="358"/>
                  </a:moveTo>
                  <a:lnTo>
                    <a:pt x="29" y="358"/>
                  </a:lnTo>
                  <a:lnTo>
                    <a:pt x="44" y="307"/>
                  </a:lnTo>
                  <a:moveTo>
                    <a:pt x="59" y="255"/>
                  </a:moveTo>
                  <a:lnTo>
                    <a:pt x="59" y="255"/>
                  </a:lnTo>
                  <a:lnTo>
                    <a:pt x="74" y="204"/>
                  </a:lnTo>
                  <a:moveTo>
                    <a:pt x="88" y="153"/>
                  </a:moveTo>
                  <a:lnTo>
                    <a:pt x="88" y="153"/>
                  </a:lnTo>
                  <a:lnTo>
                    <a:pt x="103" y="102"/>
                  </a:lnTo>
                  <a:moveTo>
                    <a:pt x="118" y="50"/>
                  </a:moveTo>
                  <a:lnTo>
                    <a:pt x="118" y="50"/>
                  </a:lnTo>
                  <a:lnTo>
                    <a:pt x="132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6" name="Freeform 145"/>
            <p:cNvSpPr>
              <a:spLocks noEditPoints="1"/>
            </p:cNvSpPr>
            <p:nvPr/>
          </p:nvSpPr>
          <p:spPr bwMode="auto">
            <a:xfrm>
              <a:off x="4046" y="1817"/>
              <a:ext cx="215" cy="14"/>
            </a:xfrm>
            <a:custGeom>
              <a:avLst/>
              <a:gdLst>
                <a:gd name="T0" fmla="*/ 1007 w 1007"/>
                <a:gd name="T1" fmla="*/ 65 h 65"/>
                <a:gd name="T2" fmla="*/ 1007 w 1007"/>
                <a:gd name="T3" fmla="*/ 65 h 65"/>
                <a:gd name="T4" fmla="*/ 954 w 1007"/>
                <a:gd name="T5" fmla="*/ 61 h 65"/>
                <a:gd name="T6" fmla="*/ 901 w 1007"/>
                <a:gd name="T7" fmla="*/ 58 h 65"/>
                <a:gd name="T8" fmla="*/ 901 w 1007"/>
                <a:gd name="T9" fmla="*/ 58 h 65"/>
                <a:gd name="T10" fmla="*/ 847 w 1007"/>
                <a:gd name="T11" fmla="*/ 54 h 65"/>
                <a:gd name="T12" fmla="*/ 794 w 1007"/>
                <a:gd name="T13" fmla="*/ 51 h 65"/>
                <a:gd name="T14" fmla="*/ 794 w 1007"/>
                <a:gd name="T15" fmla="*/ 51 h 65"/>
                <a:gd name="T16" fmla="*/ 741 w 1007"/>
                <a:gd name="T17" fmla="*/ 48 h 65"/>
                <a:gd name="T18" fmla="*/ 688 w 1007"/>
                <a:gd name="T19" fmla="*/ 44 h 65"/>
                <a:gd name="T20" fmla="*/ 688 w 1007"/>
                <a:gd name="T21" fmla="*/ 44 h 65"/>
                <a:gd name="T22" fmla="*/ 635 w 1007"/>
                <a:gd name="T23" fmla="*/ 41 h 65"/>
                <a:gd name="T24" fmla="*/ 581 w 1007"/>
                <a:gd name="T25" fmla="*/ 37 h 65"/>
                <a:gd name="T26" fmla="*/ 581 w 1007"/>
                <a:gd name="T27" fmla="*/ 37 h 65"/>
                <a:gd name="T28" fmla="*/ 528 w 1007"/>
                <a:gd name="T29" fmla="*/ 34 h 65"/>
                <a:gd name="T30" fmla="*/ 475 w 1007"/>
                <a:gd name="T31" fmla="*/ 31 h 65"/>
                <a:gd name="T32" fmla="*/ 475 w 1007"/>
                <a:gd name="T33" fmla="*/ 31 h 65"/>
                <a:gd name="T34" fmla="*/ 422 w 1007"/>
                <a:gd name="T35" fmla="*/ 27 h 65"/>
                <a:gd name="T36" fmla="*/ 368 w 1007"/>
                <a:gd name="T37" fmla="*/ 24 h 65"/>
                <a:gd name="T38" fmla="*/ 368 w 1007"/>
                <a:gd name="T39" fmla="*/ 24 h 65"/>
                <a:gd name="T40" fmla="*/ 315 w 1007"/>
                <a:gd name="T41" fmla="*/ 20 h 65"/>
                <a:gd name="T42" fmla="*/ 262 w 1007"/>
                <a:gd name="T43" fmla="*/ 17 h 65"/>
                <a:gd name="T44" fmla="*/ 262 w 1007"/>
                <a:gd name="T45" fmla="*/ 17 h 65"/>
                <a:gd name="T46" fmla="*/ 209 w 1007"/>
                <a:gd name="T47" fmla="*/ 14 h 65"/>
                <a:gd name="T48" fmla="*/ 156 w 1007"/>
                <a:gd name="T49" fmla="*/ 10 h 65"/>
                <a:gd name="T50" fmla="*/ 156 w 1007"/>
                <a:gd name="T51" fmla="*/ 10 h 65"/>
                <a:gd name="T52" fmla="*/ 102 w 1007"/>
                <a:gd name="T53" fmla="*/ 7 h 65"/>
                <a:gd name="T54" fmla="*/ 49 w 1007"/>
                <a:gd name="T55" fmla="*/ 3 h 65"/>
                <a:gd name="T56" fmla="*/ 49 w 1007"/>
                <a:gd name="T57" fmla="*/ 3 h 65"/>
                <a:gd name="T58" fmla="*/ 0 w 1007"/>
                <a:gd name="T5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7" h="65">
                  <a:moveTo>
                    <a:pt x="1007" y="65"/>
                  </a:moveTo>
                  <a:lnTo>
                    <a:pt x="1007" y="65"/>
                  </a:lnTo>
                  <a:lnTo>
                    <a:pt x="954" y="61"/>
                  </a:lnTo>
                  <a:moveTo>
                    <a:pt x="901" y="58"/>
                  </a:moveTo>
                  <a:lnTo>
                    <a:pt x="901" y="58"/>
                  </a:lnTo>
                  <a:lnTo>
                    <a:pt x="847" y="54"/>
                  </a:lnTo>
                  <a:moveTo>
                    <a:pt x="794" y="51"/>
                  </a:moveTo>
                  <a:lnTo>
                    <a:pt x="794" y="51"/>
                  </a:lnTo>
                  <a:lnTo>
                    <a:pt x="741" y="48"/>
                  </a:lnTo>
                  <a:moveTo>
                    <a:pt x="688" y="44"/>
                  </a:moveTo>
                  <a:lnTo>
                    <a:pt x="688" y="44"/>
                  </a:lnTo>
                  <a:lnTo>
                    <a:pt x="635" y="41"/>
                  </a:lnTo>
                  <a:moveTo>
                    <a:pt x="581" y="37"/>
                  </a:moveTo>
                  <a:lnTo>
                    <a:pt x="581" y="37"/>
                  </a:lnTo>
                  <a:lnTo>
                    <a:pt x="528" y="34"/>
                  </a:lnTo>
                  <a:moveTo>
                    <a:pt x="475" y="31"/>
                  </a:moveTo>
                  <a:lnTo>
                    <a:pt x="475" y="31"/>
                  </a:lnTo>
                  <a:lnTo>
                    <a:pt x="422" y="27"/>
                  </a:lnTo>
                  <a:moveTo>
                    <a:pt x="368" y="24"/>
                  </a:moveTo>
                  <a:lnTo>
                    <a:pt x="368" y="24"/>
                  </a:lnTo>
                  <a:lnTo>
                    <a:pt x="315" y="20"/>
                  </a:lnTo>
                  <a:moveTo>
                    <a:pt x="262" y="17"/>
                  </a:moveTo>
                  <a:lnTo>
                    <a:pt x="262" y="17"/>
                  </a:lnTo>
                  <a:lnTo>
                    <a:pt x="209" y="14"/>
                  </a:lnTo>
                  <a:moveTo>
                    <a:pt x="156" y="10"/>
                  </a:moveTo>
                  <a:lnTo>
                    <a:pt x="156" y="10"/>
                  </a:lnTo>
                  <a:lnTo>
                    <a:pt x="102" y="7"/>
                  </a:lnTo>
                  <a:moveTo>
                    <a:pt x="49" y="3"/>
                  </a:moveTo>
                  <a:lnTo>
                    <a:pt x="49" y="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7" name="Freeform 146"/>
            <p:cNvSpPr>
              <a:spLocks noEditPoints="1"/>
            </p:cNvSpPr>
            <p:nvPr/>
          </p:nvSpPr>
          <p:spPr bwMode="auto">
            <a:xfrm>
              <a:off x="4163" y="1902"/>
              <a:ext cx="167" cy="37"/>
            </a:xfrm>
            <a:custGeom>
              <a:avLst/>
              <a:gdLst>
                <a:gd name="T0" fmla="*/ 781 w 781"/>
                <a:gd name="T1" fmla="*/ 173 h 173"/>
                <a:gd name="T2" fmla="*/ 781 w 781"/>
                <a:gd name="T3" fmla="*/ 173 h 173"/>
                <a:gd name="T4" fmla="*/ 729 w 781"/>
                <a:gd name="T5" fmla="*/ 162 h 173"/>
                <a:gd name="T6" fmla="*/ 677 w 781"/>
                <a:gd name="T7" fmla="*/ 150 h 173"/>
                <a:gd name="T8" fmla="*/ 677 w 781"/>
                <a:gd name="T9" fmla="*/ 150 h 173"/>
                <a:gd name="T10" fmla="*/ 625 w 781"/>
                <a:gd name="T11" fmla="*/ 139 h 173"/>
                <a:gd name="T12" fmla="*/ 573 w 781"/>
                <a:gd name="T13" fmla="*/ 127 h 173"/>
                <a:gd name="T14" fmla="*/ 573 w 781"/>
                <a:gd name="T15" fmla="*/ 127 h 173"/>
                <a:gd name="T16" fmla="*/ 521 w 781"/>
                <a:gd name="T17" fmla="*/ 115 h 173"/>
                <a:gd name="T18" fmla="*/ 469 w 781"/>
                <a:gd name="T19" fmla="*/ 104 h 173"/>
                <a:gd name="T20" fmla="*/ 469 w 781"/>
                <a:gd name="T21" fmla="*/ 104 h 173"/>
                <a:gd name="T22" fmla="*/ 417 w 781"/>
                <a:gd name="T23" fmla="*/ 92 h 173"/>
                <a:gd name="T24" fmla="*/ 365 w 781"/>
                <a:gd name="T25" fmla="*/ 81 h 173"/>
                <a:gd name="T26" fmla="*/ 365 w 781"/>
                <a:gd name="T27" fmla="*/ 81 h 173"/>
                <a:gd name="T28" fmla="*/ 313 w 781"/>
                <a:gd name="T29" fmla="*/ 69 h 173"/>
                <a:gd name="T30" fmla="*/ 260 w 781"/>
                <a:gd name="T31" fmla="*/ 58 h 173"/>
                <a:gd name="T32" fmla="*/ 260 w 781"/>
                <a:gd name="T33" fmla="*/ 58 h 173"/>
                <a:gd name="T34" fmla="*/ 208 w 781"/>
                <a:gd name="T35" fmla="*/ 46 h 173"/>
                <a:gd name="T36" fmla="*/ 156 w 781"/>
                <a:gd name="T37" fmla="*/ 35 h 173"/>
                <a:gd name="T38" fmla="*/ 156 w 781"/>
                <a:gd name="T39" fmla="*/ 35 h 173"/>
                <a:gd name="T40" fmla="*/ 104 w 781"/>
                <a:gd name="T41" fmla="*/ 23 h 173"/>
                <a:gd name="T42" fmla="*/ 52 w 781"/>
                <a:gd name="T43" fmla="*/ 12 h 173"/>
                <a:gd name="T44" fmla="*/ 52 w 781"/>
                <a:gd name="T45" fmla="*/ 12 h 173"/>
                <a:gd name="T46" fmla="*/ 0 w 781"/>
                <a:gd name="T4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1" h="173">
                  <a:moveTo>
                    <a:pt x="781" y="173"/>
                  </a:moveTo>
                  <a:lnTo>
                    <a:pt x="781" y="173"/>
                  </a:lnTo>
                  <a:lnTo>
                    <a:pt x="729" y="162"/>
                  </a:lnTo>
                  <a:moveTo>
                    <a:pt x="677" y="150"/>
                  </a:moveTo>
                  <a:lnTo>
                    <a:pt x="677" y="150"/>
                  </a:lnTo>
                  <a:lnTo>
                    <a:pt x="625" y="139"/>
                  </a:lnTo>
                  <a:moveTo>
                    <a:pt x="573" y="127"/>
                  </a:moveTo>
                  <a:lnTo>
                    <a:pt x="573" y="127"/>
                  </a:lnTo>
                  <a:lnTo>
                    <a:pt x="521" y="115"/>
                  </a:lnTo>
                  <a:moveTo>
                    <a:pt x="469" y="104"/>
                  </a:moveTo>
                  <a:lnTo>
                    <a:pt x="469" y="104"/>
                  </a:lnTo>
                  <a:lnTo>
                    <a:pt x="417" y="92"/>
                  </a:lnTo>
                  <a:moveTo>
                    <a:pt x="365" y="81"/>
                  </a:moveTo>
                  <a:lnTo>
                    <a:pt x="365" y="81"/>
                  </a:lnTo>
                  <a:lnTo>
                    <a:pt x="313" y="69"/>
                  </a:lnTo>
                  <a:moveTo>
                    <a:pt x="260" y="58"/>
                  </a:moveTo>
                  <a:lnTo>
                    <a:pt x="260" y="58"/>
                  </a:lnTo>
                  <a:lnTo>
                    <a:pt x="208" y="46"/>
                  </a:lnTo>
                  <a:moveTo>
                    <a:pt x="156" y="35"/>
                  </a:moveTo>
                  <a:lnTo>
                    <a:pt x="156" y="35"/>
                  </a:lnTo>
                  <a:lnTo>
                    <a:pt x="104" y="23"/>
                  </a:lnTo>
                  <a:moveTo>
                    <a:pt x="52" y="12"/>
                  </a:moveTo>
                  <a:lnTo>
                    <a:pt x="52" y="1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148" name="Freeform 147"/>
            <p:cNvSpPr>
              <a:spLocks noEditPoints="1"/>
            </p:cNvSpPr>
            <p:nvPr/>
          </p:nvSpPr>
          <p:spPr bwMode="auto">
            <a:xfrm>
              <a:off x="4050" y="1824"/>
              <a:ext cx="84" cy="58"/>
            </a:xfrm>
            <a:custGeom>
              <a:avLst/>
              <a:gdLst>
                <a:gd name="T0" fmla="*/ 396 w 396"/>
                <a:gd name="T1" fmla="*/ 271 h 271"/>
                <a:gd name="T2" fmla="*/ 396 w 396"/>
                <a:gd name="T3" fmla="*/ 271 h 271"/>
                <a:gd name="T4" fmla="*/ 352 w 396"/>
                <a:gd name="T5" fmla="*/ 241 h 271"/>
                <a:gd name="T6" fmla="*/ 308 w 396"/>
                <a:gd name="T7" fmla="*/ 211 h 271"/>
                <a:gd name="T8" fmla="*/ 308 w 396"/>
                <a:gd name="T9" fmla="*/ 211 h 271"/>
                <a:gd name="T10" fmla="*/ 264 w 396"/>
                <a:gd name="T11" fmla="*/ 181 h 271"/>
                <a:gd name="T12" fmla="*/ 220 w 396"/>
                <a:gd name="T13" fmla="*/ 151 h 271"/>
                <a:gd name="T14" fmla="*/ 220 w 396"/>
                <a:gd name="T15" fmla="*/ 151 h 271"/>
                <a:gd name="T16" fmla="*/ 176 w 396"/>
                <a:gd name="T17" fmla="*/ 120 h 271"/>
                <a:gd name="T18" fmla="*/ 132 w 396"/>
                <a:gd name="T19" fmla="*/ 90 h 271"/>
                <a:gd name="T20" fmla="*/ 132 w 396"/>
                <a:gd name="T21" fmla="*/ 90 h 271"/>
                <a:gd name="T22" fmla="*/ 88 w 396"/>
                <a:gd name="T23" fmla="*/ 60 h 271"/>
                <a:gd name="T24" fmla="*/ 44 w 396"/>
                <a:gd name="T25" fmla="*/ 30 h 271"/>
                <a:gd name="T26" fmla="*/ 44 w 396"/>
                <a:gd name="T27" fmla="*/ 30 h 271"/>
                <a:gd name="T28" fmla="*/ 0 w 396"/>
                <a:gd name="T2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6" h="271">
                  <a:moveTo>
                    <a:pt x="396" y="271"/>
                  </a:moveTo>
                  <a:lnTo>
                    <a:pt x="396" y="271"/>
                  </a:lnTo>
                  <a:lnTo>
                    <a:pt x="352" y="241"/>
                  </a:lnTo>
                  <a:moveTo>
                    <a:pt x="308" y="211"/>
                  </a:moveTo>
                  <a:lnTo>
                    <a:pt x="308" y="211"/>
                  </a:lnTo>
                  <a:lnTo>
                    <a:pt x="264" y="181"/>
                  </a:lnTo>
                  <a:moveTo>
                    <a:pt x="220" y="151"/>
                  </a:moveTo>
                  <a:lnTo>
                    <a:pt x="220" y="151"/>
                  </a:lnTo>
                  <a:lnTo>
                    <a:pt x="176" y="120"/>
                  </a:lnTo>
                  <a:moveTo>
                    <a:pt x="132" y="90"/>
                  </a:moveTo>
                  <a:lnTo>
                    <a:pt x="132" y="90"/>
                  </a:lnTo>
                  <a:lnTo>
                    <a:pt x="88" y="60"/>
                  </a:lnTo>
                  <a:moveTo>
                    <a:pt x="44" y="30"/>
                  </a:moveTo>
                  <a:lnTo>
                    <a:pt x="44" y="3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</p:grpSp>
      <p:pic>
        <p:nvPicPr>
          <p:cNvPr id="151" name="Picture 1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921" y="4412343"/>
            <a:ext cx="360000" cy="592800"/>
          </a:xfrm>
          <a:prstGeom prst="rect">
            <a:avLst/>
          </a:prstGeom>
        </p:spPr>
      </p:pic>
      <p:cxnSp>
        <p:nvCxnSpPr>
          <p:cNvPr id="154" name="Straight Arrow Connector 153"/>
          <p:cNvCxnSpPr/>
          <p:nvPr/>
        </p:nvCxnSpPr>
        <p:spPr>
          <a:xfrm flipH="1">
            <a:off x="6945896" y="4066932"/>
            <a:ext cx="306951" cy="25430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>
            <a:stCxn id="151" idx="3"/>
            <a:endCxn id="125" idx="17"/>
          </p:cNvCxnSpPr>
          <p:nvPr/>
        </p:nvCxnSpPr>
        <p:spPr>
          <a:xfrm flipV="1">
            <a:off x="6025921" y="4699710"/>
            <a:ext cx="154904" cy="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0" name="Picture 1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233" y="4488488"/>
            <a:ext cx="360000" cy="59280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6931459" y="1343063"/>
            <a:ext cx="45719" cy="1180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</p:spTree>
    <p:extLst>
      <p:ext uri="{BB962C8B-B14F-4D97-AF65-F5344CB8AC3E}">
        <p14:creationId xmlns:p14="http://schemas.microsoft.com/office/powerpoint/2010/main" val="3506259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2" grpId="0"/>
      <p:bldP spid="13" grpId="0"/>
      <p:bldP spid="14" grpId="0"/>
      <p:bldP spid="4" grpId="0"/>
      <p:bldP spid="15" grpId="0"/>
      <p:bldP spid="16" grpId="0"/>
      <p:bldP spid="17" grpId="0"/>
      <p:bldP spid="18" grpId="0"/>
      <p:bldP spid="19" grpId="0"/>
      <p:bldP spid="20" grpId="0"/>
      <p:bldP spid="11" grpId="0" animBg="1"/>
      <p:bldP spid="33" grpId="0" animBg="1"/>
      <p:bldP spid="35" grpId="0" animBg="1"/>
      <p:bldP spid="36" grpId="0" animBg="1"/>
      <p:bldP spid="2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22"/>
          <p:cNvSpPr/>
          <p:nvPr/>
        </p:nvSpPr>
        <p:spPr>
          <a:xfrm>
            <a:off x="0" y="1075800"/>
            <a:ext cx="9144000" cy="4353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ormalising Smart Legal Contract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5A000F-F9F5-481C-91E1-016685ED883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21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5606201" y="5148437"/>
            <a:ext cx="3601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26" y="4708835"/>
            <a:ext cx="360000" cy="5928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012403" y="4671477"/>
            <a:ext cx="9668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dirty="0">
                <a:solidFill>
                  <a:schemeClr val="accent1"/>
                </a:solidFill>
              </a:rPr>
              <a:t>mining</a:t>
            </a:r>
            <a:br>
              <a:rPr lang="en-AU" sz="1800" dirty="0">
                <a:solidFill>
                  <a:schemeClr val="accent1"/>
                </a:solidFill>
              </a:rPr>
            </a:br>
            <a:r>
              <a:rPr lang="en-AU" sz="1800" dirty="0">
                <a:solidFill>
                  <a:schemeClr val="accent1"/>
                </a:solidFill>
              </a:rPr>
              <a:t>network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42678" y="1161799"/>
            <a:ext cx="1947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800" dirty="0">
                <a:solidFill>
                  <a:schemeClr val="accent1"/>
                </a:solidFill>
              </a:rPr>
              <a:t>real user needs &amp;</a:t>
            </a:r>
            <a:br>
              <a:rPr lang="en-AU" sz="1800" dirty="0">
                <a:solidFill>
                  <a:schemeClr val="accent1"/>
                </a:solidFill>
              </a:rPr>
            </a:br>
            <a:r>
              <a:rPr lang="en-AU" sz="1800" dirty="0">
                <a:solidFill>
                  <a:schemeClr val="accent1"/>
                </a:solidFill>
              </a:rPr>
              <a:t>real legal contracts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3879344" y="1219617"/>
            <a:ext cx="534816" cy="556919"/>
            <a:chOff x="4591607" y="1966922"/>
            <a:chExt cx="1060513" cy="1104342"/>
          </a:xfrm>
        </p:grpSpPr>
        <p:sp>
          <p:nvSpPr>
            <p:cNvPr id="18" name="Oval 17"/>
            <p:cNvSpPr/>
            <p:nvPr/>
          </p:nvSpPr>
          <p:spPr>
            <a:xfrm>
              <a:off x="4591607" y="1966922"/>
              <a:ext cx="304963" cy="30496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cxnSp>
          <p:nvCxnSpPr>
            <p:cNvPr id="19" name="Straight Connector 18"/>
            <p:cNvCxnSpPr>
              <a:stCxn id="18" idx="4"/>
            </p:cNvCxnSpPr>
            <p:nvPr/>
          </p:nvCxnSpPr>
          <p:spPr>
            <a:xfrm flipH="1">
              <a:off x="4649974" y="2271885"/>
              <a:ext cx="94115" cy="39495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4633893" y="2666840"/>
              <a:ext cx="232540" cy="309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4786375" y="2682303"/>
              <a:ext cx="80058" cy="38896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4713951" y="2354959"/>
              <a:ext cx="370070" cy="181545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5230155" y="2177935"/>
              <a:ext cx="421965" cy="32008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5269056" y="2211710"/>
              <a:ext cx="211423" cy="23402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25" name="Snip Single Corner Rectangle 24"/>
            <p:cNvSpPr/>
            <p:nvPr/>
          </p:nvSpPr>
          <p:spPr>
            <a:xfrm flipH="1">
              <a:off x="5011992" y="2509931"/>
              <a:ext cx="552210" cy="142400"/>
            </a:xfrm>
            <a:prstGeom prst="snip1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487856" y="1161087"/>
            <a:ext cx="341434" cy="574607"/>
            <a:chOff x="7210049" y="805966"/>
            <a:chExt cx="341434" cy="574607"/>
          </a:xfrm>
        </p:grpSpPr>
        <p:sp>
          <p:nvSpPr>
            <p:cNvPr id="27" name="Moon 26"/>
            <p:cNvSpPr/>
            <p:nvPr/>
          </p:nvSpPr>
          <p:spPr>
            <a:xfrm rot="1080000">
              <a:off x="7210049" y="805966"/>
              <a:ext cx="76897" cy="131445"/>
            </a:xfrm>
            <a:prstGeom prst="moon">
              <a:avLst>
                <a:gd name="adj" fmla="val 3872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28" name="Moon 27"/>
            <p:cNvSpPr/>
            <p:nvPr/>
          </p:nvSpPr>
          <p:spPr>
            <a:xfrm rot="20520000" flipH="1">
              <a:off x="7464390" y="805966"/>
              <a:ext cx="76897" cy="131445"/>
            </a:xfrm>
            <a:prstGeom prst="moon">
              <a:avLst>
                <a:gd name="adj" fmla="val 3872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29" name="Oval 28"/>
            <p:cNvSpPr/>
            <p:nvPr/>
          </p:nvSpPr>
          <p:spPr>
            <a:xfrm>
              <a:off x="7296155" y="805966"/>
              <a:ext cx="153793" cy="1537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30" name="Isosceles Triangle 29"/>
            <p:cNvSpPr/>
            <p:nvPr/>
          </p:nvSpPr>
          <p:spPr>
            <a:xfrm>
              <a:off x="7279933" y="978385"/>
              <a:ext cx="223285" cy="276388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7333522" y="1258107"/>
              <a:ext cx="4518" cy="12246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433714" y="1254773"/>
              <a:ext cx="4518" cy="12246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 flipV="1">
              <a:off x="7237270" y="1049337"/>
              <a:ext cx="117769" cy="3846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7433714" y="1042426"/>
              <a:ext cx="117769" cy="3846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4"/>
          <p:cNvGrpSpPr>
            <a:grpSpLocks noChangeAspect="1"/>
          </p:cNvGrpSpPr>
          <p:nvPr/>
        </p:nvGrpSpPr>
        <p:grpSpPr bwMode="auto">
          <a:xfrm>
            <a:off x="4561536" y="4754515"/>
            <a:ext cx="623861" cy="472016"/>
            <a:chOff x="3839" y="1678"/>
            <a:chExt cx="530" cy="401"/>
          </a:xfrm>
        </p:grpSpPr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3896" y="1723"/>
              <a:ext cx="28" cy="28"/>
            </a:xfrm>
            <a:custGeom>
              <a:avLst/>
              <a:gdLst>
                <a:gd name="T0" fmla="*/ 108 w 131"/>
                <a:gd name="T1" fmla="*/ 23 h 131"/>
                <a:gd name="T2" fmla="*/ 108 w 131"/>
                <a:gd name="T3" fmla="*/ 23 h 131"/>
                <a:gd name="T4" fmla="*/ 108 w 131"/>
                <a:gd name="T5" fmla="*/ 108 h 131"/>
                <a:gd name="T6" fmla="*/ 23 w 131"/>
                <a:gd name="T7" fmla="*/ 108 h 131"/>
                <a:gd name="T8" fmla="*/ 23 w 131"/>
                <a:gd name="T9" fmla="*/ 23 h 131"/>
                <a:gd name="T10" fmla="*/ 108 w 131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1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4"/>
                    <a:pt x="108" y="108"/>
                  </a:cubicBezTo>
                  <a:cubicBezTo>
                    <a:pt x="84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3839" y="1831"/>
              <a:ext cx="28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4023" y="1794"/>
              <a:ext cx="28" cy="29"/>
            </a:xfrm>
            <a:custGeom>
              <a:avLst/>
              <a:gdLst>
                <a:gd name="T0" fmla="*/ 109 w 132"/>
                <a:gd name="T1" fmla="*/ 23 h 132"/>
                <a:gd name="T2" fmla="*/ 109 w 132"/>
                <a:gd name="T3" fmla="*/ 23 h 132"/>
                <a:gd name="T4" fmla="*/ 109 w 132"/>
                <a:gd name="T5" fmla="*/ 108 h 132"/>
                <a:gd name="T6" fmla="*/ 24 w 132"/>
                <a:gd name="T7" fmla="*/ 108 h 132"/>
                <a:gd name="T8" fmla="*/ 24 w 132"/>
                <a:gd name="T9" fmla="*/ 23 h 132"/>
                <a:gd name="T10" fmla="*/ 109 w 132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5"/>
                    <a:pt x="109" y="108"/>
                  </a:cubicBezTo>
                  <a:cubicBezTo>
                    <a:pt x="85" y="132"/>
                    <a:pt x="47" y="132"/>
                    <a:pt x="24" y="108"/>
                  </a:cubicBezTo>
                  <a:cubicBezTo>
                    <a:pt x="0" y="85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4163" y="1754"/>
              <a:ext cx="29" cy="29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4294" y="1678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3978" y="1891"/>
              <a:ext cx="28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4129" y="1877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4260" y="1817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4341" y="1783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3873" y="2005"/>
              <a:ext cx="28" cy="28"/>
            </a:xfrm>
            <a:custGeom>
              <a:avLst/>
              <a:gdLst>
                <a:gd name="T0" fmla="*/ 108 w 132"/>
                <a:gd name="T1" fmla="*/ 23 h 131"/>
                <a:gd name="T2" fmla="*/ 108 w 132"/>
                <a:gd name="T3" fmla="*/ 23 h 131"/>
                <a:gd name="T4" fmla="*/ 108 w 132"/>
                <a:gd name="T5" fmla="*/ 108 h 131"/>
                <a:gd name="T6" fmla="*/ 23 w 132"/>
                <a:gd name="T7" fmla="*/ 108 h 131"/>
                <a:gd name="T8" fmla="*/ 23 w 132"/>
                <a:gd name="T9" fmla="*/ 23 h 131"/>
                <a:gd name="T10" fmla="*/ 108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8" y="23"/>
                  </a:moveTo>
                  <a:lnTo>
                    <a:pt x="108" y="23"/>
                  </a:lnTo>
                  <a:cubicBezTo>
                    <a:pt x="132" y="47"/>
                    <a:pt x="132" y="84"/>
                    <a:pt x="108" y="108"/>
                  </a:cubicBezTo>
                  <a:cubicBezTo>
                    <a:pt x="85" y="131"/>
                    <a:pt x="47" y="131"/>
                    <a:pt x="23" y="108"/>
                  </a:cubicBezTo>
                  <a:cubicBezTo>
                    <a:pt x="0" y="84"/>
                    <a:pt x="0" y="47"/>
                    <a:pt x="23" y="23"/>
                  </a:cubicBezTo>
                  <a:cubicBezTo>
                    <a:pt x="47" y="0"/>
                    <a:pt x="85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3978" y="2005"/>
              <a:ext cx="28" cy="28"/>
            </a:xfrm>
            <a:custGeom>
              <a:avLst/>
              <a:gdLst>
                <a:gd name="T0" fmla="*/ 109 w 132"/>
                <a:gd name="T1" fmla="*/ 23 h 131"/>
                <a:gd name="T2" fmla="*/ 109 w 132"/>
                <a:gd name="T3" fmla="*/ 23 h 131"/>
                <a:gd name="T4" fmla="*/ 109 w 132"/>
                <a:gd name="T5" fmla="*/ 108 h 131"/>
                <a:gd name="T6" fmla="*/ 24 w 132"/>
                <a:gd name="T7" fmla="*/ 108 h 131"/>
                <a:gd name="T8" fmla="*/ 24 w 132"/>
                <a:gd name="T9" fmla="*/ 23 h 131"/>
                <a:gd name="T10" fmla="*/ 109 w 132"/>
                <a:gd name="T11" fmla="*/ 2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1">
                  <a:moveTo>
                    <a:pt x="109" y="23"/>
                  </a:moveTo>
                  <a:lnTo>
                    <a:pt x="109" y="23"/>
                  </a:lnTo>
                  <a:cubicBezTo>
                    <a:pt x="132" y="47"/>
                    <a:pt x="132" y="84"/>
                    <a:pt x="109" y="108"/>
                  </a:cubicBezTo>
                  <a:cubicBezTo>
                    <a:pt x="85" y="131"/>
                    <a:pt x="47" y="131"/>
                    <a:pt x="24" y="108"/>
                  </a:cubicBezTo>
                  <a:cubicBezTo>
                    <a:pt x="0" y="84"/>
                    <a:pt x="0" y="47"/>
                    <a:pt x="24" y="23"/>
                  </a:cubicBezTo>
                  <a:cubicBezTo>
                    <a:pt x="47" y="0"/>
                    <a:pt x="85" y="0"/>
                    <a:pt x="109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4101" y="2051"/>
              <a:ext cx="28" cy="28"/>
            </a:xfrm>
            <a:custGeom>
              <a:avLst/>
              <a:gdLst>
                <a:gd name="T0" fmla="*/ 108 w 131"/>
                <a:gd name="T1" fmla="*/ 23 h 132"/>
                <a:gd name="T2" fmla="*/ 108 w 131"/>
                <a:gd name="T3" fmla="*/ 23 h 132"/>
                <a:gd name="T4" fmla="*/ 108 w 131"/>
                <a:gd name="T5" fmla="*/ 108 h 132"/>
                <a:gd name="T6" fmla="*/ 23 w 131"/>
                <a:gd name="T7" fmla="*/ 108 h 132"/>
                <a:gd name="T8" fmla="*/ 23 w 131"/>
                <a:gd name="T9" fmla="*/ 23 h 132"/>
                <a:gd name="T10" fmla="*/ 108 w 131"/>
                <a:gd name="T1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132">
                  <a:moveTo>
                    <a:pt x="108" y="23"/>
                  </a:moveTo>
                  <a:lnTo>
                    <a:pt x="108" y="23"/>
                  </a:lnTo>
                  <a:cubicBezTo>
                    <a:pt x="131" y="47"/>
                    <a:pt x="131" y="85"/>
                    <a:pt x="108" y="108"/>
                  </a:cubicBezTo>
                  <a:cubicBezTo>
                    <a:pt x="84" y="132"/>
                    <a:pt x="47" y="132"/>
                    <a:pt x="23" y="108"/>
                  </a:cubicBezTo>
                  <a:cubicBezTo>
                    <a:pt x="0" y="85"/>
                    <a:pt x="0" y="47"/>
                    <a:pt x="23" y="23"/>
                  </a:cubicBezTo>
                  <a:cubicBezTo>
                    <a:pt x="47" y="0"/>
                    <a:pt x="84" y="0"/>
                    <a:pt x="108" y="23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4223" y="1977"/>
              <a:ext cx="28" cy="28"/>
            </a:xfrm>
            <a:custGeom>
              <a:avLst/>
              <a:gdLst>
                <a:gd name="T0" fmla="*/ 108 w 132"/>
                <a:gd name="T1" fmla="*/ 24 h 132"/>
                <a:gd name="T2" fmla="*/ 108 w 132"/>
                <a:gd name="T3" fmla="*/ 24 h 132"/>
                <a:gd name="T4" fmla="*/ 108 w 132"/>
                <a:gd name="T5" fmla="*/ 109 h 132"/>
                <a:gd name="T6" fmla="*/ 23 w 132"/>
                <a:gd name="T7" fmla="*/ 109 h 132"/>
                <a:gd name="T8" fmla="*/ 23 w 132"/>
                <a:gd name="T9" fmla="*/ 24 h 132"/>
                <a:gd name="T10" fmla="*/ 108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8" y="24"/>
                  </a:moveTo>
                  <a:lnTo>
                    <a:pt x="108" y="24"/>
                  </a:lnTo>
                  <a:cubicBezTo>
                    <a:pt x="132" y="47"/>
                    <a:pt x="132" y="85"/>
                    <a:pt x="108" y="109"/>
                  </a:cubicBezTo>
                  <a:cubicBezTo>
                    <a:pt x="85" y="132"/>
                    <a:pt x="47" y="132"/>
                    <a:pt x="23" y="109"/>
                  </a:cubicBezTo>
                  <a:cubicBezTo>
                    <a:pt x="0" y="85"/>
                    <a:pt x="0" y="47"/>
                    <a:pt x="23" y="24"/>
                  </a:cubicBezTo>
                  <a:cubicBezTo>
                    <a:pt x="47" y="0"/>
                    <a:pt x="85" y="0"/>
                    <a:pt x="108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solidFill>
              <a:srgbClr val="191919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4328" y="1925"/>
              <a:ext cx="29" cy="28"/>
            </a:xfrm>
            <a:custGeom>
              <a:avLst/>
              <a:gdLst>
                <a:gd name="T0" fmla="*/ 109 w 132"/>
                <a:gd name="T1" fmla="*/ 24 h 132"/>
                <a:gd name="T2" fmla="*/ 109 w 132"/>
                <a:gd name="T3" fmla="*/ 24 h 132"/>
                <a:gd name="T4" fmla="*/ 109 w 132"/>
                <a:gd name="T5" fmla="*/ 109 h 132"/>
                <a:gd name="T6" fmla="*/ 24 w 132"/>
                <a:gd name="T7" fmla="*/ 109 h 132"/>
                <a:gd name="T8" fmla="*/ 24 w 132"/>
                <a:gd name="T9" fmla="*/ 24 h 132"/>
                <a:gd name="T10" fmla="*/ 109 w 132"/>
                <a:gd name="T11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132">
                  <a:moveTo>
                    <a:pt x="109" y="24"/>
                  </a:moveTo>
                  <a:lnTo>
                    <a:pt x="109" y="24"/>
                  </a:lnTo>
                  <a:cubicBezTo>
                    <a:pt x="132" y="47"/>
                    <a:pt x="132" y="85"/>
                    <a:pt x="109" y="109"/>
                  </a:cubicBezTo>
                  <a:cubicBezTo>
                    <a:pt x="85" y="132"/>
                    <a:pt x="47" y="132"/>
                    <a:pt x="24" y="109"/>
                  </a:cubicBezTo>
                  <a:cubicBezTo>
                    <a:pt x="0" y="85"/>
                    <a:pt x="0" y="47"/>
                    <a:pt x="24" y="24"/>
                  </a:cubicBezTo>
                  <a:cubicBezTo>
                    <a:pt x="47" y="0"/>
                    <a:pt x="85" y="0"/>
                    <a:pt x="109" y="24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3921" y="1743"/>
              <a:ext cx="105" cy="60"/>
            </a:xfrm>
            <a:custGeom>
              <a:avLst/>
              <a:gdLst>
                <a:gd name="T0" fmla="*/ 0 w 489"/>
                <a:gd name="T1" fmla="*/ 0 h 280"/>
                <a:gd name="T2" fmla="*/ 0 w 489"/>
                <a:gd name="T3" fmla="*/ 0 h 280"/>
                <a:gd name="T4" fmla="*/ 46 w 489"/>
                <a:gd name="T5" fmla="*/ 27 h 280"/>
                <a:gd name="T6" fmla="*/ 92 w 489"/>
                <a:gd name="T7" fmla="*/ 53 h 280"/>
                <a:gd name="T8" fmla="*/ 92 w 489"/>
                <a:gd name="T9" fmla="*/ 53 h 280"/>
                <a:gd name="T10" fmla="*/ 138 w 489"/>
                <a:gd name="T11" fmla="*/ 80 h 280"/>
                <a:gd name="T12" fmla="*/ 185 w 489"/>
                <a:gd name="T13" fmla="*/ 106 h 280"/>
                <a:gd name="T14" fmla="*/ 185 w 489"/>
                <a:gd name="T15" fmla="*/ 106 h 280"/>
                <a:gd name="T16" fmla="*/ 231 w 489"/>
                <a:gd name="T17" fmla="*/ 133 h 280"/>
                <a:gd name="T18" fmla="*/ 277 w 489"/>
                <a:gd name="T19" fmla="*/ 159 h 280"/>
                <a:gd name="T20" fmla="*/ 277 w 489"/>
                <a:gd name="T21" fmla="*/ 159 h 280"/>
                <a:gd name="T22" fmla="*/ 324 w 489"/>
                <a:gd name="T23" fmla="*/ 186 h 280"/>
                <a:gd name="T24" fmla="*/ 370 w 489"/>
                <a:gd name="T25" fmla="*/ 212 h 280"/>
                <a:gd name="T26" fmla="*/ 370 w 489"/>
                <a:gd name="T27" fmla="*/ 212 h 280"/>
                <a:gd name="T28" fmla="*/ 416 w 489"/>
                <a:gd name="T29" fmla="*/ 239 h 280"/>
                <a:gd name="T30" fmla="*/ 462 w 489"/>
                <a:gd name="T31" fmla="*/ 265 h 280"/>
                <a:gd name="T32" fmla="*/ 462 w 489"/>
                <a:gd name="T33" fmla="*/ 265 h 280"/>
                <a:gd name="T34" fmla="*/ 489 w 489"/>
                <a:gd name="T3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" h="280">
                  <a:moveTo>
                    <a:pt x="0" y="0"/>
                  </a:moveTo>
                  <a:lnTo>
                    <a:pt x="0" y="0"/>
                  </a:lnTo>
                  <a:lnTo>
                    <a:pt x="46" y="27"/>
                  </a:lnTo>
                  <a:moveTo>
                    <a:pt x="92" y="53"/>
                  </a:moveTo>
                  <a:lnTo>
                    <a:pt x="92" y="53"/>
                  </a:lnTo>
                  <a:lnTo>
                    <a:pt x="138" y="80"/>
                  </a:lnTo>
                  <a:moveTo>
                    <a:pt x="185" y="106"/>
                  </a:moveTo>
                  <a:lnTo>
                    <a:pt x="185" y="106"/>
                  </a:lnTo>
                  <a:lnTo>
                    <a:pt x="231" y="133"/>
                  </a:lnTo>
                  <a:moveTo>
                    <a:pt x="277" y="159"/>
                  </a:moveTo>
                  <a:lnTo>
                    <a:pt x="277" y="159"/>
                  </a:lnTo>
                  <a:lnTo>
                    <a:pt x="324" y="186"/>
                  </a:lnTo>
                  <a:moveTo>
                    <a:pt x="370" y="212"/>
                  </a:moveTo>
                  <a:lnTo>
                    <a:pt x="370" y="212"/>
                  </a:lnTo>
                  <a:lnTo>
                    <a:pt x="416" y="239"/>
                  </a:lnTo>
                  <a:moveTo>
                    <a:pt x="462" y="265"/>
                  </a:moveTo>
                  <a:lnTo>
                    <a:pt x="462" y="265"/>
                  </a:lnTo>
                  <a:lnTo>
                    <a:pt x="489" y="28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4050" y="1775"/>
              <a:ext cx="116" cy="33"/>
            </a:xfrm>
            <a:custGeom>
              <a:avLst/>
              <a:gdLst>
                <a:gd name="T0" fmla="*/ 544 w 544"/>
                <a:gd name="T1" fmla="*/ 0 h 159"/>
                <a:gd name="T2" fmla="*/ 544 w 544"/>
                <a:gd name="T3" fmla="*/ 0 h 159"/>
                <a:gd name="T4" fmla="*/ 493 w 544"/>
                <a:gd name="T5" fmla="*/ 15 h 159"/>
                <a:gd name="T6" fmla="*/ 441 w 544"/>
                <a:gd name="T7" fmla="*/ 30 h 159"/>
                <a:gd name="T8" fmla="*/ 441 w 544"/>
                <a:gd name="T9" fmla="*/ 30 h 159"/>
                <a:gd name="T10" fmla="*/ 390 w 544"/>
                <a:gd name="T11" fmla="*/ 45 h 159"/>
                <a:gd name="T12" fmla="*/ 339 w 544"/>
                <a:gd name="T13" fmla="*/ 60 h 159"/>
                <a:gd name="T14" fmla="*/ 339 w 544"/>
                <a:gd name="T15" fmla="*/ 60 h 159"/>
                <a:gd name="T16" fmla="*/ 288 w 544"/>
                <a:gd name="T17" fmla="*/ 75 h 159"/>
                <a:gd name="T18" fmla="*/ 237 w 544"/>
                <a:gd name="T19" fmla="*/ 90 h 159"/>
                <a:gd name="T20" fmla="*/ 237 w 544"/>
                <a:gd name="T21" fmla="*/ 90 h 159"/>
                <a:gd name="T22" fmla="*/ 185 w 544"/>
                <a:gd name="T23" fmla="*/ 105 h 159"/>
                <a:gd name="T24" fmla="*/ 134 w 544"/>
                <a:gd name="T25" fmla="*/ 120 h 159"/>
                <a:gd name="T26" fmla="*/ 134 w 544"/>
                <a:gd name="T27" fmla="*/ 120 h 159"/>
                <a:gd name="T28" fmla="*/ 83 w 544"/>
                <a:gd name="T29" fmla="*/ 135 h 159"/>
                <a:gd name="T30" fmla="*/ 32 w 544"/>
                <a:gd name="T31" fmla="*/ 150 h 159"/>
                <a:gd name="T32" fmla="*/ 32 w 544"/>
                <a:gd name="T33" fmla="*/ 150 h 159"/>
                <a:gd name="T34" fmla="*/ 0 w 544"/>
                <a:gd name="T3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4" h="159">
                  <a:moveTo>
                    <a:pt x="544" y="0"/>
                  </a:moveTo>
                  <a:lnTo>
                    <a:pt x="544" y="0"/>
                  </a:lnTo>
                  <a:lnTo>
                    <a:pt x="493" y="15"/>
                  </a:lnTo>
                  <a:moveTo>
                    <a:pt x="441" y="30"/>
                  </a:moveTo>
                  <a:lnTo>
                    <a:pt x="441" y="30"/>
                  </a:lnTo>
                  <a:lnTo>
                    <a:pt x="390" y="45"/>
                  </a:lnTo>
                  <a:moveTo>
                    <a:pt x="339" y="60"/>
                  </a:moveTo>
                  <a:lnTo>
                    <a:pt x="339" y="60"/>
                  </a:lnTo>
                  <a:lnTo>
                    <a:pt x="288" y="75"/>
                  </a:lnTo>
                  <a:moveTo>
                    <a:pt x="237" y="90"/>
                  </a:moveTo>
                  <a:lnTo>
                    <a:pt x="237" y="90"/>
                  </a:lnTo>
                  <a:lnTo>
                    <a:pt x="185" y="105"/>
                  </a:lnTo>
                  <a:moveTo>
                    <a:pt x="134" y="120"/>
                  </a:moveTo>
                  <a:lnTo>
                    <a:pt x="134" y="120"/>
                  </a:lnTo>
                  <a:lnTo>
                    <a:pt x="83" y="135"/>
                  </a:lnTo>
                  <a:moveTo>
                    <a:pt x="32" y="150"/>
                  </a:moveTo>
                  <a:lnTo>
                    <a:pt x="32" y="150"/>
                  </a:lnTo>
                  <a:lnTo>
                    <a:pt x="0" y="159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3865" y="1814"/>
              <a:ext cx="161" cy="26"/>
            </a:xfrm>
            <a:custGeom>
              <a:avLst/>
              <a:gdLst>
                <a:gd name="T0" fmla="*/ 755 w 755"/>
                <a:gd name="T1" fmla="*/ 0 h 121"/>
                <a:gd name="T2" fmla="*/ 755 w 755"/>
                <a:gd name="T3" fmla="*/ 0 h 121"/>
                <a:gd name="T4" fmla="*/ 702 w 755"/>
                <a:gd name="T5" fmla="*/ 8 h 121"/>
                <a:gd name="T6" fmla="*/ 650 w 755"/>
                <a:gd name="T7" fmla="*/ 17 h 121"/>
                <a:gd name="T8" fmla="*/ 650 w 755"/>
                <a:gd name="T9" fmla="*/ 17 h 121"/>
                <a:gd name="T10" fmla="*/ 597 w 755"/>
                <a:gd name="T11" fmla="*/ 25 h 121"/>
                <a:gd name="T12" fmla="*/ 544 w 755"/>
                <a:gd name="T13" fmla="*/ 34 h 121"/>
                <a:gd name="T14" fmla="*/ 544 w 755"/>
                <a:gd name="T15" fmla="*/ 34 h 121"/>
                <a:gd name="T16" fmla="*/ 492 w 755"/>
                <a:gd name="T17" fmla="*/ 42 h 121"/>
                <a:gd name="T18" fmla="*/ 439 w 755"/>
                <a:gd name="T19" fmla="*/ 51 h 121"/>
                <a:gd name="T20" fmla="*/ 439 w 755"/>
                <a:gd name="T21" fmla="*/ 51 h 121"/>
                <a:gd name="T22" fmla="*/ 386 w 755"/>
                <a:gd name="T23" fmla="*/ 59 h 121"/>
                <a:gd name="T24" fmla="*/ 334 w 755"/>
                <a:gd name="T25" fmla="*/ 67 h 121"/>
                <a:gd name="T26" fmla="*/ 334 w 755"/>
                <a:gd name="T27" fmla="*/ 67 h 121"/>
                <a:gd name="T28" fmla="*/ 281 w 755"/>
                <a:gd name="T29" fmla="*/ 76 h 121"/>
                <a:gd name="T30" fmla="*/ 229 w 755"/>
                <a:gd name="T31" fmla="*/ 84 h 121"/>
                <a:gd name="T32" fmla="*/ 229 w 755"/>
                <a:gd name="T33" fmla="*/ 84 h 121"/>
                <a:gd name="T34" fmla="*/ 176 w 755"/>
                <a:gd name="T35" fmla="*/ 93 h 121"/>
                <a:gd name="T36" fmla="*/ 123 w 755"/>
                <a:gd name="T37" fmla="*/ 101 h 121"/>
                <a:gd name="T38" fmla="*/ 123 w 755"/>
                <a:gd name="T39" fmla="*/ 101 h 121"/>
                <a:gd name="T40" fmla="*/ 71 w 755"/>
                <a:gd name="T41" fmla="*/ 110 h 121"/>
                <a:gd name="T42" fmla="*/ 18 w 755"/>
                <a:gd name="T43" fmla="*/ 118 h 121"/>
                <a:gd name="T44" fmla="*/ 18 w 755"/>
                <a:gd name="T45" fmla="*/ 118 h 121"/>
                <a:gd name="T46" fmla="*/ 0 w 755"/>
                <a:gd name="T4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5" h="121">
                  <a:moveTo>
                    <a:pt x="755" y="0"/>
                  </a:moveTo>
                  <a:lnTo>
                    <a:pt x="755" y="0"/>
                  </a:lnTo>
                  <a:lnTo>
                    <a:pt x="702" y="8"/>
                  </a:lnTo>
                  <a:moveTo>
                    <a:pt x="650" y="17"/>
                  </a:moveTo>
                  <a:lnTo>
                    <a:pt x="650" y="17"/>
                  </a:lnTo>
                  <a:lnTo>
                    <a:pt x="597" y="25"/>
                  </a:lnTo>
                  <a:moveTo>
                    <a:pt x="544" y="34"/>
                  </a:moveTo>
                  <a:lnTo>
                    <a:pt x="544" y="34"/>
                  </a:lnTo>
                  <a:lnTo>
                    <a:pt x="492" y="42"/>
                  </a:lnTo>
                  <a:moveTo>
                    <a:pt x="439" y="51"/>
                  </a:moveTo>
                  <a:lnTo>
                    <a:pt x="439" y="51"/>
                  </a:lnTo>
                  <a:lnTo>
                    <a:pt x="386" y="59"/>
                  </a:lnTo>
                  <a:moveTo>
                    <a:pt x="334" y="67"/>
                  </a:moveTo>
                  <a:lnTo>
                    <a:pt x="334" y="67"/>
                  </a:lnTo>
                  <a:lnTo>
                    <a:pt x="281" y="76"/>
                  </a:lnTo>
                  <a:moveTo>
                    <a:pt x="229" y="84"/>
                  </a:moveTo>
                  <a:lnTo>
                    <a:pt x="229" y="84"/>
                  </a:lnTo>
                  <a:lnTo>
                    <a:pt x="176" y="93"/>
                  </a:lnTo>
                  <a:moveTo>
                    <a:pt x="123" y="101"/>
                  </a:moveTo>
                  <a:lnTo>
                    <a:pt x="123" y="101"/>
                  </a:lnTo>
                  <a:lnTo>
                    <a:pt x="71" y="110"/>
                  </a:lnTo>
                  <a:moveTo>
                    <a:pt x="18" y="118"/>
                  </a:moveTo>
                  <a:lnTo>
                    <a:pt x="18" y="118"/>
                  </a:lnTo>
                  <a:lnTo>
                    <a:pt x="0" y="121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3999" y="1820"/>
              <a:ext cx="32" cy="73"/>
            </a:xfrm>
            <a:custGeom>
              <a:avLst/>
              <a:gdLst>
                <a:gd name="T0" fmla="*/ 150 w 150"/>
                <a:gd name="T1" fmla="*/ 0 h 342"/>
                <a:gd name="T2" fmla="*/ 150 w 150"/>
                <a:gd name="T3" fmla="*/ 0 h 342"/>
                <a:gd name="T4" fmla="*/ 128 w 150"/>
                <a:gd name="T5" fmla="*/ 49 h 342"/>
                <a:gd name="T6" fmla="*/ 107 w 150"/>
                <a:gd name="T7" fmla="*/ 98 h 342"/>
                <a:gd name="T8" fmla="*/ 107 w 150"/>
                <a:gd name="T9" fmla="*/ 98 h 342"/>
                <a:gd name="T10" fmla="*/ 86 w 150"/>
                <a:gd name="T11" fmla="*/ 147 h 342"/>
                <a:gd name="T12" fmla="*/ 64 w 150"/>
                <a:gd name="T13" fmla="*/ 196 h 342"/>
                <a:gd name="T14" fmla="*/ 64 w 150"/>
                <a:gd name="T15" fmla="*/ 196 h 342"/>
                <a:gd name="T16" fmla="*/ 43 w 150"/>
                <a:gd name="T17" fmla="*/ 245 h 342"/>
                <a:gd name="T18" fmla="*/ 21 w 150"/>
                <a:gd name="T19" fmla="*/ 293 h 342"/>
                <a:gd name="T20" fmla="*/ 21 w 150"/>
                <a:gd name="T21" fmla="*/ 293 h 342"/>
                <a:gd name="T22" fmla="*/ 0 w 150"/>
                <a:gd name="T23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342">
                  <a:moveTo>
                    <a:pt x="150" y="0"/>
                  </a:moveTo>
                  <a:lnTo>
                    <a:pt x="150" y="0"/>
                  </a:lnTo>
                  <a:lnTo>
                    <a:pt x="128" y="49"/>
                  </a:lnTo>
                  <a:moveTo>
                    <a:pt x="107" y="98"/>
                  </a:moveTo>
                  <a:lnTo>
                    <a:pt x="107" y="98"/>
                  </a:lnTo>
                  <a:lnTo>
                    <a:pt x="86" y="147"/>
                  </a:lnTo>
                  <a:moveTo>
                    <a:pt x="64" y="196"/>
                  </a:moveTo>
                  <a:lnTo>
                    <a:pt x="64" y="196"/>
                  </a:lnTo>
                  <a:lnTo>
                    <a:pt x="43" y="245"/>
                  </a:lnTo>
                  <a:moveTo>
                    <a:pt x="21" y="293"/>
                  </a:moveTo>
                  <a:lnTo>
                    <a:pt x="21" y="293"/>
                  </a:lnTo>
                  <a:lnTo>
                    <a:pt x="0" y="342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3859" y="1749"/>
              <a:ext cx="45" cy="85"/>
            </a:xfrm>
            <a:custGeom>
              <a:avLst/>
              <a:gdLst>
                <a:gd name="T0" fmla="*/ 0 w 209"/>
                <a:gd name="T1" fmla="*/ 401 h 401"/>
                <a:gd name="T2" fmla="*/ 0 w 209"/>
                <a:gd name="T3" fmla="*/ 401 h 401"/>
                <a:gd name="T4" fmla="*/ 25 w 209"/>
                <a:gd name="T5" fmla="*/ 354 h 401"/>
                <a:gd name="T6" fmla="*/ 49 w 209"/>
                <a:gd name="T7" fmla="*/ 307 h 401"/>
                <a:gd name="T8" fmla="*/ 49 w 209"/>
                <a:gd name="T9" fmla="*/ 307 h 401"/>
                <a:gd name="T10" fmla="*/ 74 w 209"/>
                <a:gd name="T11" fmla="*/ 259 h 401"/>
                <a:gd name="T12" fmla="*/ 99 w 209"/>
                <a:gd name="T13" fmla="*/ 212 h 401"/>
                <a:gd name="T14" fmla="*/ 99 w 209"/>
                <a:gd name="T15" fmla="*/ 212 h 401"/>
                <a:gd name="T16" fmla="*/ 123 w 209"/>
                <a:gd name="T17" fmla="*/ 165 h 401"/>
                <a:gd name="T18" fmla="*/ 148 w 209"/>
                <a:gd name="T19" fmla="*/ 117 h 401"/>
                <a:gd name="T20" fmla="*/ 148 w 209"/>
                <a:gd name="T21" fmla="*/ 117 h 401"/>
                <a:gd name="T22" fmla="*/ 172 w 209"/>
                <a:gd name="T23" fmla="*/ 70 h 401"/>
                <a:gd name="T24" fmla="*/ 197 w 209"/>
                <a:gd name="T25" fmla="*/ 23 h 401"/>
                <a:gd name="T26" fmla="*/ 197 w 209"/>
                <a:gd name="T27" fmla="*/ 23 h 401"/>
                <a:gd name="T28" fmla="*/ 209 w 209"/>
                <a:gd name="T29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9" h="401">
                  <a:moveTo>
                    <a:pt x="0" y="401"/>
                  </a:moveTo>
                  <a:lnTo>
                    <a:pt x="0" y="401"/>
                  </a:lnTo>
                  <a:lnTo>
                    <a:pt x="25" y="354"/>
                  </a:lnTo>
                  <a:moveTo>
                    <a:pt x="49" y="307"/>
                  </a:moveTo>
                  <a:lnTo>
                    <a:pt x="49" y="307"/>
                  </a:lnTo>
                  <a:lnTo>
                    <a:pt x="74" y="259"/>
                  </a:lnTo>
                  <a:moveTo>
                    <a:pt x="99" y="212"/>
                  </a:moveTo>
                  <a:lnTo>
                    <a:pt x="99" y="212"/>
                  </a:lnTo>
                  <a:lnTo>
                    <a:pt x="123" y="165"/>
                  </a:lnTo>
                  <a:moveTo>
                    <a:pt x="148" y="117"/>
                  </a:moveTo>
                  <a:lnTo>
                    <a:pt x="148" y="117"/>
                  </a:lnTo>
                  <a:lnTo>
                    <a:pt x="172" y="70"/>
                  </a:lnTo>
                  <a:moveTo>
                    <a:pt x="197" y="23"/>
                  </a:moveTo>
                  <a:lnTo>
                    <a:pt x="197" y="23"/>
                  </a:lnTo>
                  <a:lnTo>
                    <a:pt x="209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3916" y="1749"/>
              <a:ext cx="70" cy="145"/>
            </a:xfrm>
            <a:custGeom>
              <a:avLst/>
              <a:gdLst>
                <a:gd name="T0" fmla="*/ 328 w 328"/>
                <a:gd name="T1" fmla="*/ 682 h 682"/>
                <a:gd name="T2" fmla="*/ 328 w 328"/>
                <a:gd name="T3" fmla="*/ 682 h 682"/>
                <a:gd name="T4" fmla="*/ 305 w 328"/>
                <a:gd name="T5" fmla="*/ 634 h 682"/>
                <a:gd name="T6" fmla="*/ 282 w 328"/>
                <a:gd name="T7" fmla="*/ 586 h 682"/>
                <a:gd name="T8" fmla="*/ 282 w 328"/>
                <a:gd name="T9" fmla="*/ 586 h 682"/>
                <a:gd name="T10" fmla="*/ 259 w 328"/>
                <a:gd name="T11" fmla="*/ 538 h 682"/>
                <a:gd name="T12" fmla="*/ 236 w 328"/>
                <a:gd name="T13" fmla="*/ 490 h 682"/>
                <a:gd name="T14" fmla="*/ 236 w 328"/>
                <a:gd name="T15" fmla="*/ 490 h 682"/>
                <a:gd name="T16" fmla="*/ 213 w 328"/>
                <a:gd name="T17" fmla="*/ 442 h 682"/>
                <a:gd name="T18" fmla="*/ 189 w 328"/>
                <a:gd name="T19" fmla="*/ 394 h 682"/>
                <a:gd name="T20" fmla="*/ 189 w 328"/>
                <a:gd name="T21" fmla="*/ 394 h 682"/>
                <a:gd name="T22" fmla="*/ 166 w 328"/>
                <a:gd name="T23" fmla="*/ 346 h 682"/>
                <a:gd name="T24" fmla="*/ 143 w 328"/>
                <a:gd name="T25" fmla="*/ 298 h 682"/>
                <a:gd name="T26" fmla="*/ 143 w 328"/>
                <a:gd name="T27" fmla="*/ 298 h 682"/>
                <a:gd name="T28" fmla="*/ 120 w 328"/>
                <a:gd name="T29" fmla="*/ 250 h 682"/>
                <a:gd name="T30" fmla="*/ 97 w 328"/>
                <a:gd name="T31" fmla="*/ 202 h 682"/>
                <a:gd name="T32" fmla="*/ 97 w 328"/>
                <a:gd name="T33" fmla="*/ 202 h 682"/>
                <a:gd name="T34" fmla="*/ 74 w 328"/>
                <a:gd name="T35" fmla="*/ 154 h 682"/>
                <a:gd name="T36" fmla="*/ 51 w 328"/>
                <a:gd name="T37" fmla="*/ 105 h 682"/>
                <a:gd name="T38" fmla="*/ 51 w 328"/>
                <a:gd name="T39" fmla="*/ 105 h 682"/>
                <a:gd name="T40" fmla="*/ 28 w 328"/>
                <a:gd name="T41" fmla="*/ 57 h 682"/>
                <a:gd name="T42" fmla="*/ 4 w 328"/>
                <a:gd name="T43" fmla="*/ 9 h 682"/>
                <a:gd name="T44" fmla="*/ 4 w 328"/>
                <a:gd name="T45" fmla="*/ 9 h 682"/>
                <a:gd name="T46" fmla="*/ 0 w 328"/>
                <a:gd name="T4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8" h="682">
                  <a:moveTo>
                    <a:pt x="328" y="682"/>
                  </a:moveTo>
                  <a:lnTo>
                    <a:pt x="328" y="682"/>
                  </a:lnTo>
                  <a:lnTo>
                    <a:pt x="305" y="634"/>
                  </a:lnTo>
                  <a:moveTo>
                    <a:pt x="282" y="586"/>
                  </a:moveTo>
                  <a:lnTo>
                    <a:pt x="282" y="586"/>
                  </a:lnTo>
                  <a:lnTo>
                    <a:pt x="259" y="538"/>
                  </a:lnTo>
                  <a:moveTo>
                    <a:pt x="236" y="490"/>
                  </a:moveTo>
                  <a:lnTo>
                    <a:pt x="236" y="490"/>
                  </a:lnTo>
                  <a:lnTo>
                    <a:pt x="213" y="442"/>
                  </a:lnTo>
                  <a:moveTo>
                    <a:pt x="189" y="394"/>
                  </a:moveTo>
                  <a:lnTo>
                    <a:pt x="189" y="394"/>
                  </a:lnTo>
                  <a:lnTo>
                    <a:pt x="166" y="346"/>
                  </a:lnTo>
                  <a:moveTo>
                    <a:pt x="143" y="298"/>
                  </a:moveTo>
                  <a:lnTo>
                    <a:pt x="143" y="298"/>
                  </a:lnTo>
                  <a:lnTo>
                    <a:pt x="120" y="250"/>
                  </a:lnTo>
                  <a:moveTo>
                    <a:pt x="97" y="202"/>
                  </a:moveTo>
                  <a:lnTo>
                    <a:pt x="97" y="202"/>
                  </a:lnTo>
                  <a:lnTo>
                    <a:pt x="74" y="154"/>
                  </a:lnTo>
                  <a:moveTo>
                    <a:pt x="51" y="105"/>
                  </a:moveTo>
                  <a:lnTo>
                    <a:pt x="51" y="105"/>
                  </a:lnTo>
                  <a:lnTo>
                    <a:pt x="28" y="57"/>
                  </a:lnTo>
                  <a:moveTo>
                    <a:pt x="4" y="9"/>
                  </a:moveTo>
                  <a:lnTo>
                    <a:pt x="4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3872" y="1847"/>
              <a:ext cx="258" cy="44"/>
            </a:xfrm>
            <a:custGeom>
              <a:avLst/>
              <a:gdLst>
                <a:gd name="T0" fmla="*/ 1209 w 1209"/>
                <a:gd name="T1" fmla="*/ 208 h 208"/>
                <a:gd name="T2" fmla="*/ 1209 w 1209"/>
                <a:gd name="T3" fmla="*/ 208 h 208"/>
                <a:gd name="T4" fmla="*/ 1156 w 1209"/>
                <a:gd name="T5" fmla="*/ 198 h 208"/>
                <a:gd name="T6" fmla="*/ 1104 w 1209"/>
                <a:gd name="T7" fmla="*/ 189 h 208"/>
                <a:gd name="T8" fmla="*/ 1104 w 1209"/>
                <a:gd name="T9" fmla="*/ 189 h 208"/>
                <a:gd name="T10" fmla="*/ 1051 w 1209"/>
                <a:gd name="T11" fmla="*/ 180 h 208"/>
                <a:gd name="T12" fmla="*/ 999 w 1209"/>
                <a:gd name="T13" fmla="*/ 171 h 208"/>
                <a:gd name="T14" fmla="*/ 999 w 1209"/>
                <a:gd name="T15" fmla="*/ 171 h 208"/>
                <a:gd name="T16" fmla="*/ 946 w 1209"/>
                <a:gd name="T17" fmla="*/ 162 h 208"/>
                <a:gd name="T18" fmla="*/ 893 w 1209"/>
                <a:gd name="T19" fmla="*/ 153 h 208"/>
                <a:gd name="T20" fmla="*/ 893 w 1209"/>
                <a:gd name="T21" fmla="*/ 153 h 208"/>
                <a:gd name="T22" fmla="*/ 841 w 1209"/>
                <a:gd name="T23" fmla="*/ 144 h 208"/>
                <a:gd name="T24" fmla="*/ 788 w 1209"/>
                <a:gd name="T25" fmla="*/ 135 h 208"/>
                <a:gd name="T26" fmla="*/ 788 w 1209"/>
                <a:gd name="T27" fmla="*/ 135 h 208"/>
                <a:gd name="T28" fmla="*/ 736 w 1209"/>
                <a:gd name="T29" fmla="*/ 126 h 208"/>
                <a:gd name="T30" fmla="*/ 683 w 1209"/>
                <a:gd name="T31" fmla="*/ 117 h 208"/>
                <a:gd name="T32" fmla="*/ 683 w 1209"/>
                <a:gd name="T33" fmla="*/ 117 h 208"/>
                <a:gd name="T34" fmla="*/ 631 w 1209"/>
                <a:gd name="T35" fmla="*/ 108 h 208"/>
                <a:gd name="T36" fmla="*/ 578 w 1209"/>
                <a:gd name="T37" fmla="*/ 99 h 208"/>
                <a:gd name="T38" fmla="*/ 578 w 1209"/>
                <a:gd name="T39" fmla="*/ 99 h 208"/>
                <a:gd name="T40" fmla="*/ 526 w 1209"/>
                <a:gd name="T41" fmla="*/ 90 h 208"/>
                <a:gd name="T42" fmla="*/ 473 w 1209"/>
                <a:gd name="T43" fmla="*/ 81 h 208"/>
                <a:gd name="T44" fmla="*/ 473 w 1209"/>
                <a:gd name="T45" fmla="*/ 81 h 208"/>
                <a:gd name="T46" fmla="*/ 420 w 1209"/>
                <a:gd name="T47" fmla="*/ 72 h 208"/>
                <a:gd name="T48" fmla="*/ 368 w 1209"/>
                <a:gd name="T49" fmla="*/ 63 h 208"/>
                <a:gd name="T50" fmla="*/ 368 w 1209"/>
                <a:gd name="T51" fmla="*/ 63 h 208"/>
                <a:gd name="T52" fmla="*/ 315 w 1209"/>
                <a:gd name="T53" fmla="*/ 54 h 208"/>
                <a:gd name="T54" fmla="*/ 263 w 1209"/>
                <a:gd name="T55" fmla="*/ 45 h 208"/>
                <a:gd name="T56" fmla="*/ 263 w 1209"/>
                <a:gd name="T57" fmla="*/ 45 h 208"/>
                <a:gd name="T58" fmla="*/ 210 w 1209"/>
                <a:gd name="T59" fmla="*/ 36 h 208"/>
                <a:gd name="T60" fmla="*/ 158 w 1209"/>
                <a:gd name="T61" fmla="*/ 27 h 208"/>
                <a:gd name="T62" fmla="*/ 158 w 1209"/>
                <a:gd name="T63" fmla="*/ 27 h 208"/>
                <a:gd name="T64" fmla="*/ 105 w 1209"/>
                <a:gd name="T65" fmla="*/ 18 h 208"/>
                <a:gd name="T66" fmla="*/ 52 w 1209"/>
                <a:gd name="T67" fmla="*/ 9 h 208"/>
                <a:gd name="T68" fmla="*/ 52 w 1209"/>
                <a:gd name="T69" fmla="*/ 9 h 208"/>
                <a:gd name="T70" fmla="*/ 0 w 1209"/>
                <a:gd name="T7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09" h="208">
                  <a:moveTo>
                    <a:pt x="1209" y="208"/>
                  </a:moveTo>
                  <a:lnTo>
                    <a:pt x="1209" y="208"/>
                  </a:lnTo>
                  <a:lnTo>
                    <a:pt x="1156" y="198"/>
                  </a:lnTo>
                  <a:moveTo>
                    <a:pt x="1104" y="189"/>
                  </a:moveTo>
                  <a:lnTo>
                    <a:pt x="1104" y="189"/>
                  </a:lnTo>
                  <a:lnTo>
                    <a:pt x="1051" y="180"/>
                  </a:lnTo>
                  <a:moveTo>
                    <a:pt x="999" y="171"/>
                  </a:moveTo>
                  <a:lnTo>
                    <a:pt x="999" y="171"/>
                  </a:lnTo>
                  <a:lnTo>
                    <a:pt x="946" y="162"/>
                  </a:lnTo>
                  <a:moveTo>
                    <a:pt x="893" y="153"/>
                  </a:moveTo>
                  <a:lnTo>
                    <a:pt x="893" y="153"/>
                  </a:lnTo>
                  <a:lnTo>
                    <a:pt x="841" y="144"/>
                  </a:lnTo>
                  <a:moveTo>
                    <a:pt x="788" y="135"/>
                  </a:moveTo>
                  <a:lnTo>
                    <a:pt x="788" y="135"/>
                  </a:lnTo>
                  <a:lnTo>
                    <a:pt x="736" y="126"/>
                  </a:lnTo>
                  <a:moveTo>
                    <a:pt x="683" y="117"/>
                  </a:moveTo>
                  <a:lnTo>
                    <a:pt x="683" y="117"/>
                  </a:lnTo>
                  <a:lnTo>
                    <a:pt x="631" y="108"/>
                  </a:lnTo>
                  <a:moveTo>
                    <a:pt x="578" y="99"/>
                  </a:moveTo>
                  <a:lnTo>
                    <a:pt x="578" y="99"/>
                  </a:lnTo>
                  <a:lnTo>
                    <a:pt x="526" y="90"/>
                  </a:lnTo>
                  <a:moveTo>
                    <a:pt x="473" y="81"/>
                  </a:moveTo>
                  <a:lnTo>
                    <a:pt x="473" y="81"/>
                  </a:lnTo>
                  <a:lnTo>
                    <a:pt x="420" y="72"/>
                  </a:lnTo>
                  <a:moveTo>
                    <a:pt x="368" y="63"/>
                  </a:moveTo>
                  <a:lnTo>
                    <a:pt x="368" y="63"/>
                  </a:lnTo>
                  <a:lnTo>
                    <a:pt x="315" y="54"/>
                  </a:lnTo>
                  <a:moveTo>
                    <a:pt x="263" y="45"/>
                  </a:moveTo>
                  <a:lnTo>
                    <a:pt x="263" y="45"/>
                  </a:lnTo>
                  <a:lnTo>
                    <a:pt x="210" y="36"/>
                  </a:lnTo>
                  <a:moveTo>
                    <a:pt x="158" y="27"/>
                  </a:moveTo>
                  <a:lnTo>
                    <a:pt x="158" y="27"/>
                  </a:lnTo>
                  <a:lnTo>
                    <a:pt x="105" y="18"/>
                  </a:lnTo>
                  <a:moveTo>
                    <a:pt x="52" y="9"/>
                  </a:moveTo>
                  <a:lnTo>
                    <a:pt x="52" y="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4007" y="1897"/>
              <a:ext cx="125" cy="8"/>
            </a:xfrm>
            <a:custGeom>
              <a:avLst/>
              <a:gdLst>
                <a:gd name="T0" fmla="*/ 586 w 586"/>
                <a:gd name="T1" fmla="*/ 0 h 38"/>
                <a:gd name="T2" fmla="*/ 586 w 586"/>
                <a:gd name="T3" fmla="*/ 0 h 38"/>
                <a:gd name="T4" fmla="*/ 533 w 586"/>
                <a:gd name="T5" fmla="*/ 3 h 38"/>
                <a:gd name="T6" fmla="*/ 479 w 586"/>
                <a:gd name="T7" fmla="*/ 6 h 38"/>
                <a:gd name="T8" fmla="*/ 479 w 586"/>
                <a:gd name="T9" fmla="*/ 6 h 38"/>
                <a:gd name="T10" fmla="*/ 426 w 586"/>
                <a:gd name="T11" fmla="*/ 10 h 38"/>
                <a:gd name="T12" fmla="*/ 373 w 586"/>
                <a:gd name="T13" fmla="*/ 13 h 38"/>
                <a:gd name="T14" fmla="*/ 373 w 586"/>
                <a:gd name="T15" fmla="*/ 13 h 38"/>
                <a:gd name="T16" fmla="*/ 320 w 586"/>
                <a:gd name="T17" fmla="*/ 17 h 38"/>
                <a:gd name="T18" fmla="*/ 266 w 586"/>
                <a:gd name="T19" fmla="*/ 20 h 38"/>
                <a:gd name="T20" fmla="*/ 266 w 586"/>
                <a:gd name="T21" fmla="*/ 20 h 38"/>
                <a:gd name="T22" fmla="*/ 213 w 586"/>
                <a:gd name="T23" fmla="*/ 24 h 38"/>
                <a:gd name="T24" fmla="*/ 160 w 586"/>
                <a:gd name="T25" fmla="*/ 27 h 38"/>
                <a:gd name="T26" fmla="*/ 160 w 586"/>
                <a:gd name="T27" fmla="*/ 27 h 38"/>
                <a:gd name="T28" fmla="*/ 107 w 586"/>
                <a:gd name="T29" fmla="*/ 31 h 38"/>
                <a:gd name="T30" fmla="*/ 54 w 586"/>
                <a:gd name="T31" fmla="*/ 34 h 38"/>
                <a:gd name="T32" fmla="*/ 54 w 586"/>
                <a:gd name="T33" fmla="*/ 34 h 38"/>
                <a:gd name="T34" fmla="*/ 0 w 586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6" h="38">
                  <a:moveTo>
                    <a:pt x="586" y="0"/>
                  </a:moveTo>
                  <a:lnTo>
                    <a:pt x="586" y="0"/>
                  </a:lnTo>
                  <a:lnTo>
                    <a:pt x="533" y="3"/>
                  </a:lnTo>
                  <a:moveTo>
                    <a:pt x="479" y="6"/>
                  </a:moveTo>
                  <a:lnTo>
                    <a:pt x="479" y="6"/>
                  </a:lnTo>
                  <a:lnTo>
                    <a:pt x="426" y="10"/>
                  </a:lnTo>
                  <a:moveTo>
                    <a:pt x="373" y="13"/>
                  </a:moveTo>
                  <a:lnTo>
                    <a:pt x="373" y="13"/>
                  </a:lnTo>
                  <a:lnTo>
                    <a:pt x="320" y="17"/>
                  </a:lnTo>
                  <a:moveTo>
                    <a:pt x="266" y="20"/>
                  </a:moveTo>
                  <a:lnTo>
                    <a:pt x="266" y="20"/>
                  </a:lnTo>
                  <a:lnTo>
                    <a:pt x="213" y="24"/>
                  </a:lnTo>
                  <a:moveTo>
                    <a:pt x="160" y="27"/>
                  </a:moveTo>
                  <a:lnTo>
                    <a:pt x="160" y="27"/>
                  </a:lnTo>
                  <a:lnTo>
                    <a:pt x="107" y="31"/>
                  </a:lnTo>
                  <a:moveTo>
                    <a:pt x="54" y="34"/>
                  </a:moveTo>
                  <a:lnTo>
                    <a:pt x="54" y="34"/>
                  </a:lnTo>
                  <a:lnTo>
                    <a:pt x="0" y="38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3865" y="1852"/>
              <a:ext cx="116" cy="48"/>
            </a:xfrm>
            <a:custGeom>
              <a:avLst/>
              <a:gdLst>
                <a:gd name="T0" fmla="*/ 542 w 542"/>
                <a:gd name="T1" fmla="*/ 225 h 225"/>
                <a:gd name="T2" fmla="*/ 542 w 542"/>
                <a:gd name="T3" fmla="*/ 225 h 225"/>
                <a:gd name="T4" fmla="*/ 493 w 542"/>
                <a:gd name="T5" fmla="*/ 204 h 225"/>
                <a:gd name="T6" fmla="*/ 443 w 542"/>
                <a:gd name="T7" fmla="*/ 184 h 225"/>
                <a:gd name="T8" fmla="*/ 443 w 542"/>
                <a:gd name="T9" fmla="*/ 184 h 225"/>
                <a:gd name="T10" fmla="*/ 394 w 542"/>
                <a:gd name="T11" fmla="*/ 163 h 225"/>
                <a:gd name="T12" fmla="*/ 345 w 542"/>
                <a:gd name="T13" fmla="*/ 143 h 225"/>
                <a:gd name="T14" fmla="*/ 345 w 542"/>
                <a:gd name="T15" fmla="*/ 143 h 225"/>
                <a:gd name="T16" fmla="*/ 296 w 542"/>
                <a:gd name="T17" fmla="*/ 123 h 225"/>
                <a:gd name="T18" fmla="*/ 246 w 542"/>
                <a:gd name="T19" fmla="*/ 102 h 225"/>
                <a:gd name="T20" fmla="*/ 246 w 542"/>
                <a:gd name="T21" fmla="*/ 102 h 225"/>
                <a:gd name="T22" fmla="*/ 197 w 542"/>
                <a:gd name="T23" fmla="*/ 82 h 225"/>
                <a:gd name="T24" fmla="*/ 148 w 542"/>
                <a:gd name="T25" fmla="*/ 61 h 225"/>
                <a:gd name="T26" fmla="*/ 148 w 542"/>
                <a:gd name="T27" fmla="*/ 61 h 225"/>
                <a:gd name="T28" fmla="*/ 98 w 542"/>
                <a:gd name="T29" fmla="*/ 41 h 225"/>
                <a:gd name="T30" fmla="*/ 49 w 542"/>
                <a:gd name="T31" fmla="*/ 20 h 225"/>
                <a:gd name="T32" fmla="*/ 49 w 542"/>
                <a:gd name="T33" fmla="*/ 20 h 225"/>
                <a:gd name="T34" fmla="*/ 0 w 542"/>
                <a:gd name="T3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2" h="225">
                  <a:moveTo>
                    <a:pt x="542" y="225"/>
                  </a:moveTo>
                  <a:lnTo>
                    <a:pt x="542" y="225"/>
                  </a:lnTo>
                  <a:lnTo>
                    <a:pt x="493" y="204"/>
                  </a:lnTo>
                  <a:moveTo>
                    <a:pt x="443" y="184"/>
                  </a:moveTo>
                  <a:lnTo>
                    <a:pt x="443" y="184"/>
                  </a:lnTo>
                  <a:lnTo>
                    <a:pt x="394" y="163"/>
                  </a:lnTo>
                  <a:moveTo>
                    <a:pt x="345" y="143"/>
                  </a:moveTo>
                  <a:lnTo>
                    <a:pt x="345" y="143"/>
                  </a:lnTo>
                  <a:lnTo>
                    <a:pt x="296" y="123"/>
                  </a:lnTo>
                  <a:moveTo>
                    <a:pt x="246" y="102"/>
                  </a:moveTo>
                  <a:lnTo>
                    <a:pt x="246" y="102"/>
                  </a:lnTo>
                  <a:lnTo>
                    <a:pt x="197" y="82"/>
                  </a:lnTo>
                  <a:moveTo>
                    <a:pt x="148" y="61"/>
                  </a:moveTo>
                  <a:lnTo>
                    <a:pt x="148" y="61"/>
                  </a:lnTo>
                  <a:lnTo>
                    <a:pt x="98" y="41"/>
                  </a:lnTo>
                  <a:moveTo>
                    <a:pt x="49" y="20"/>
                  </a:moveTo>
                  <a:lnTo>
                    <a:pt x="49" y="2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3860" y="1861"/>
              <a:ext cx="27" cy="145"/>
            </a:xfrm>
            <a:custGeom>
              <a:avLst/>
              <a:gdLst>
                <a:gd name="T0" fmla="*/ 128 w 128"/>
                <a:gd name="T1" fmla="*/ 682 h 682"/>
                <a:gd name="T2" fmla="*/ 128 w 128"/>
                <a:gd name="T3" fmla="*/ 682 h 682"/>
                <a:gd name="T4" fmla="*/ 118 w 128"/>
                <a:gd name="T5" fmla="*/ 629 h 682"/>
                <a:gd name="T6" fmla="*/ 108 w 128"/>
                <a:gd name="T7" fmla="*/ 577 h 682"/>
                <a:gd name="T8" fmla="*/ 108 w 128"/>
                <a:gd name="T9" fmla="*/ 577 h 682"/>
                <a:gd name="T10" fmla="*/ 98 w 128"/>
                <a:gd name="T11" fmla="*/ 524 h 682"/>
                <a:gd name="T12" fmla="*/ 88 w 128"/>
                <a:gd name="T13" fmla="*/ 472 h 682"/>
                <a:gd name="T14" fmla="*/ 88 w 128"/>
                <a:gd name="T15" fmla="*/ 472 h 682"/>
                <a:gd name="T16" fmla="*/ 79 w 128"/>
                <a:gd name="T17" fmla="*/ 419 h 682"/>
                <a:gd name="T18" fmla="*/ 69 w 128"/>
                <a:gd name="T19" fmla="*/ 367 h 682"/>
                <a:gd name="T20" fmla="*/ 69 w 128"/>
                <a:gd name="T21" fmla="*/ 367 h 682"/>
                <a:gd name="T22" fmla="*/ 59 w 128"/>
                <a:gd name="T23" fmla="*/ 315 h 682"/>
                <a:gd name="T24" fmla="*/ 49 w 128"/>
                <a:gd name="T25" fmla="*/ 262 h 682"/>
                <a:gd name="T26" fmla="*/ 49 w 128"/>
                <a:gd name="T27" fmla="*/ 262 h 682"/>
                <a:gd name="T28" fmla="*/ 39 w 128"/>
                <a:gd name="T29" fmla="*/ 210 h 682"/>
                <a:gd name="T30" fmla="*/ 29 w 128"/>
                <a:gd name="T31" fmla="*/ 157 h 682"/>
                <a:gd name="T32" fmla="*/ 29 w 128"/>
                <a:gd name="T33" fmla="*/ 157 h 682"/>
                <a:gd name="T34" fmla="*/ 20 w 128"/>
                <a:gd name="T35" fmla="*/ 105 h 682"/>
                <a:gd name="T36" fmla="*/ 10 w 128"/>
                <a:gd name="T37" fmla="*/ 52 h 682"/>
                <a:gd name="T38" fmla="*/ 10 w 128"/>
                <a:gd name="T39" fmla="*/ 52 h 682"/>
                <a:gd name="T40" fmla="*/ 0 w 128"/>
                <a:gd name="T41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" h="682">
                  <a:moveTo>
                    <a:pt x="128" y="682"/>
                  </a:moveTo>
                  <a:lnTo>
                    <a:pt x="128" y="682"/>
                  </a:lnTo>
                  <a:lnTo>
                    <a:pt x="118" y="629"/>
                  </a:lnTo>
                  <a:moveTo>
                    <a:pt x="108" y="577"/>
                  </a:moveTo>
                  <a:lnTo>
                    <a:pt x="108" y="577"/>
                  </a:lnTo>
                  <a:lnTo>
                    <a:pt x="98" y="524"/>
                  </a:lnTo>
                  <a:moveTo>
                    <a:pt x="88" y="472"/>
                  </a:moveTo>
                  <a:lnTo>
                    <a:pt x="88" y="472"/>
                  </a:lnTo>
                  <a:lnTo>
                    <a:pt x="79" y="419"/>
                  </a:lnTo>
                  <a:moveTo>
                    <a:pt x="69" y="367"/>
                  </a:moveTo>
                  <a:lnTo>
                    <a:pt x="69" y="367"/>
                  </a:lnTo>
                  <a:lnTo>
                    <a:pt x="59" y="315"/>
                  </a:lnTo>
                  <a:moveTo>
                    <a:pt x="49" y="262"/>
                  </a:moveTo>
                  <a:lnTo>
                    <a:pt x="49" y="262"/>
                  </a:lnTo>
                  <a:lnTo>
                    <a:pt x="39" y="210"/>
                  </a:lnTo>
                  <a:moveTo>
                    <a:pt x="29" y="157"/>
                  </a:moveTo>
                  <a:lnTo>
                    <a:pt x="29" y="157"/>
                  </a:lnTo>
                  <a:lnTo>
                    <a:pt x="20" y="105"/>
                  </a:lnTo>
                  <a:moveTo>
                    <a:pt x="10" y="52"/>
                  </a:moveTo>
                  <a:lnTo>
                    <a:pt x="10" y="5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3900" y="2019"/>
              <a:ext cx="80" cy="0"/>
            </a:xfrm>
            <a:custGeom>
              <a:avLst/>
              <a:gdLst>
                <a:gd name="T0" fmla="*/ 373 w 373"/>
                <a:gd name="T1" fmla="*/ 373 w 373"/>
                <a:gd name="T2" fmla="*/ 320 w 373"/>
                <a:gd name="T3" fmla="*/ 266 w 373"/>
                <a:gd name="T4" fmla="*/ 266 w 373"/>
                <a:gd name="T5" fmla="*/ 213 w 373"/>
                <a:gd name="T6" fmla="*/ 160 w 373"/>
                <a:gd name="T7" fmla="*/ 160 w 373"/>
                <a:gd name="T8" fmla="*/ 106 w 373"/>
                <a:gd name="T9" fmla="*/ 53 w 373"/>
                <a:gd name="T10" fmla="*/ 53 w 373"/>
                <a:gd name="T11" fmla="*/ 0 w 3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373">
                  <a:moveTo>
                    <a:pt x="373" y="0"/>
                  </a:moveTo>
                  <a:lnTo>
                    <a:pt x="373" y="0"/>
                  </a:lnTo>
                  <a:lnTo>
                    <a:pt x="320" y="0"/>
                  </a:lnTo>
                  <a:moveTo>
                    <a:pt x="266" y="0"/>
                  </a:moveTo>
                  <a:lnTo>
                    <a:pt x="266" y="0"/>
                  </a:lnTo>
                  <a:lnTo>
                    <a:pt x="213" y="0"/>
                  </a:lnTo>
                  <a:moveTo>
                    <a:pt x="160" y="0"/>
                  </a:moveTo>
                  <a:lnTo>
                    <a:pt x="160" y="0"/>
                  </a:lnTo>
                  <a:lnTo>
                    <a:pt x="106" y="0"/>
                  </a:lnTo>
                  <a:moveTo>
                    <a:pt x="53" y="0"/>
                  </a:move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3992" y="1927"/>
              <a:ext cx="0" cy="79"/>
            </a:xfrm>
            <a:custGeom>
              <a:avLst/>
              <a:gdLst>
                <a:gd name="T0" fmla="*/ 374 h 374"/>
                <a:gd name="T1" fmla="*/ 374 h 374"/>
                <a:gd name="T2" fmla="*/ 320 h 374"/>
                <a:gd name="T3" fmla="*/ 267 h 374"/>
                <a:gd name="T4" fmla="*/ 267 h 374"/>
                <a:gd name="T5" fmla="*/ 214 h 374"/>
                <a:gd name="T6" fmla="*/ 160 h 374"/>
                <a:gd name="T7" fmla="*/ 160 h 374"/>
                <a:gd name="T8" fmla="*/ 107 h 374"/>
                <a:gd name="T9" fmla="*/ 54 h 374"/>
                <a:gd name="T10" fmla="*/ 54 h 374"/>
                <a:gd name="T11" fmla="*/ 0 h 37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</a:cxnLst>
              <a:rect l="0" t="0" r="r" b="b"/>
              <a:pathLst>
                <a:path h="374">
                  <a:moveTo>
                    <a:pt x="0" y="374"/>
                  </a:moveTo>
                  <a:lnTo>
                    <a:pt x="0" y="374"/>
                  </a:lnTo>
                  <a:lnTo>
                    <a:pt x="0" y="320"/>
                  </a:lnTo>
                  <a:moveTo>
                    <a:pt x="0" y="267"/>
                  </a:moveTo>
                  <a:lnTo>
                    <a:pt x="0" y="267"/>
                  </a:lnTo>
                  <a:lnTo>
                    <a:pt x="0" y="214"/>
                  </a:lnTo>
                  <a:moveTo>
                    <a:pt x="0" y="160"/>
                  </a:moveTo>
                  <a:lnTo>
                    <a:pt x="0" y="160"/>
                  </a:lnTo>
                  <a:lnTo>
                    <a:pt x="0" y="107"/>
                  </a:lnTo>
                  <a:moveTo>
                    <a:pt x="0" y="54"/>
                  </a:moveTo>
                  <a:lnTo>
                    <a:pt x="0" y="54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4003" y="1902"/>
              <a:ext cx="134" cy="107"/>
            </a:xfrm>
            <a:custGeom>
              <a:avLst/>
              <a:gdLst>
                <a:gd name="T0" fmla="*/ 627 w 627"/>
                <a:gd name="T1" fmla="*/ 0 h 497"/>
                <a:gd name="T2" fmla="*/ 627 w 627"/>
                <a:gd name="T3" fmla="*/ 0 h 497"/>
                <a:gd name="T4" fmla="*/ 585 w 627"/>
                <a:gd name="T5" fmla="*/ 33 h 497"/>
                <a:gd name="T6" fmla="*/ 544 w 627"/>
                <a:gd name="T7" fmla="*/ 66 h 497"/>
                <a:gd name="T8" fmla="*/ 544 w 627"/>
                <a:gd name="T9" fmla="*/ 66 h 497"/>
                <a:gd name="T10" fmla="*/ 502 w 627"/>
                <a:gd name="T11" fmla="*/ 99 h 497"/>
                <a:gd name="T12" fmla="*/ 460 w 627"/>
                <a:gd name="T13" fmla="*/ 132 h 497"/>
                <a:gd name="T14" fmla="*/ 460 w 627"/>
                <a:gd name="T15" fmla="*/ 132 h 497"/>
                <a:gd name="T16" fmla="*/ 418 w 627"/>
                <a:gd name="T17" fmla="*/ 165 h 497"/>
                <a:gd name="T18" fmla="*/ 376 w 627"/>
                <a:gd name="T19" fmla="*/ 198 h 497"/>
                <a:gd name="T20" fmla="*/ 376 w 627"/>
                <a:gd name="T21" fmla="*/ 198 h 497"/>
                <a:gd name="T22" fmla="*/ 335 w 627"/>
                <a:gd name="T23" fmla="*/ 232 h 497"/>
                <a:gd name="T24" fmla="*/ 293 w 627"/>
                <a:gd name="T25" fmla="*/ 265 h 497"/>
                <a:gd name="T26" fmla="*/ 293 w 627"/>
                <a:gd name="T27" fmla="*/ 265 h 497"/>
                <a:gd name="T28" fmla="*/ 251 w 627"/>
                <a:gd name="T29" fmla="*/ 298 h 497"/>
                <a:gd name="T30" fmla="*/ 209 w 627"/>
                <a:gd name="T31" fmla="*/ 331 h 497"/>
                <a:gd name="T32" fmla="*/ 209 w 627"/>
                <a:gd name="T33" fmla="*/ 331 h 497"/>
                <a:gd name="T34" fmla="*/ 167 w 627"/>
                <a:gd name="T35" fmla="*/ 364 h 497"/>
                <a:gd name="T36" fmla="*/ 126 w 627"/>
                <a:gd name="T37" fmla="*/ 397 h 497"/>
                <a:gd name="T38" fmla="*/ 126 w 627"/>
                <a:gd name="T39" fmla="*/ 397 h 497"/>
                <a:gd name="T40" fmla="*/ 84 w 627"/>
                <a:gd name="T41" fmla="*/ 430 h 497"/>
                <a:gd name="T42" fmla="*/ 42 w 627"/>
                <a:gd name="T43" fmla="*/ 463 h 497"/>
                <a:gd name="T44" fmla="*/ 42 w 627"/>
                <a:gd name="T45" fmla="*/ 463 h 497"/>
                <a:gd name="T46" fmla="*/ 0 w 627"/>
                <a:gd name="T47" fmla="*/ 49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7" h="497">
                  <a:moveTo>
                    <a:pt x="627" y="0"/>
                  </a:moveTo>
                  <a:lnTo>
                    <a:pt x="627" y="0"/>
                  </a:lnTo>
                  <a:lnTo>
                    <a:pt x="585" y="33"/>
                  </a:lnTo>
                  <a:moveTo>
                    <a:pt x="544" y="66"/>
                  </a:moveTo>
                  <a:lnTo>
                    <a:pt x="544" y="66"/>
                  </a:lnTo>
                  <a:lnTo>
                    <a:pt x="502" y="99"/>
                  </a:lnTo>
                  <a:moveTo>
                    <a:pt x="460" y="132"/>
                  </a:moveTo>
                  <a:lnTo>
                    <a:pt x="460" y="132"/>
                  </a:lnTo>
                  <a:lnTo>
                    <a:pt x="418" y="165"/>
                  </a:lnTo>
                  <a:moveTo>
                    <a:pt x="376" y="198"/>
                  </a:moveTo>
                  <a:lnTo>
                    <a:pt x="376" y="198"/>
                  </a:lnTo>
                  <a:lnTo>
                    <a:pt x="335" y="232"/>
                  </a:lnTo>
                  <a:moveTo>
                    <a:pt x="293" y="265"/>
                  </a:moveTo>
                  <a:lnTo>
                    <a:pt x="293" y="265"/>
                  </a:lnTo>
                  <a:lnTo>
                    <a:pt x="251" y="298"/>
                  </a:lnTo>
                  <a:moveTo>
                    <a:pt x="209" y="331"/>
                  </a:moveTo>
                  <a:lnTo>
                    <a:pt x="209" y="331"/>
                  </a:lnTo>
                  <a:lnTo>
                    <a:pt x="167" y="364"/>
                  </a:lnTo>
                  <a:moveTo>
                    <a:pt x="126" y="397"/>
                  </a:moveTo>
                  <a:lnTo>
                    <a:pt x="126" y="397"/>
                  </a:lnTo>
                  <a:lnTo>
                    <a:pt x="84" y="430"/>
                  </a:lnTo>
                  <a:moveTo>
                    <a:pt x="42" y="463"/>
                  </a:moveTo>
                  <a:lnTo>
                    <a:pt x="42" y="463"/>
                  </a:lnTo>
                  <a:lnTo>
                    <a:pt x="0" y="497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4115" y="1904"/>
              <a:ext cx="28" cy="145"/>
            </a:xfrm>
            <a:custGeom>
              <a:avLst/>
              <a:gdLst>
                <a:gd name="T0" fmla="*/ 131 w 131"/>
                <a:gd name="T1" fmla="*/ 0 h 680"/>
                <a:gd name="T2" fmla="*/ 131 w 131"/>
                <a:gd name="T3" fmla="*/ 0 h 680"/>
                <a:gd name="T4" fmla="*/ 121 w 131"/>
                <a:gd name="T5" fmla="*/ 52 h 680"/>
                <a:gd name="T6" fmla="*/ 111 w 131"/>
                <a:gd name="T7" fmla="*/ 104 h 680"/>
                <a:gd name="T8" fmla="*/ 111 w 131"/>
                <a:gd name="T9" fmla="*/ 104 h 680"/>
                <a:gd name="T10" fmla="*/ 101 w 131"/>
                <a:gd name="T11" fmla="*/ 157 h 680"/>
                <a:gd name="T12" fmla="*/ 91 w 131"/>
                <a:gd name="T13" fmla="*/ 209 h 680"/>
                <a:gd name="T14" fmla="*/ 91 w 131"/>
                <a:gd name="T15" fmla="*/ 209 h 680"/>
                <a:gd name="T16" fmla="*/ 80 w 131"/>
                <a:gd name="T17" fmla="*/ 261 h 680"/>
                <a:gd name="T18" fmla="*/ 70 w 131"/>
                <a:gd name="T19" fmla="*/ 314 h 680"/>
                <a:gd name="T20" fmla="*/ 70 w 131"/>
                <a:gd name="T21" fmla="*/ 314 h 680"/>
                <a:gd name="T22" fmla="*/ 60 w 131"/>
                <a:gd name="T23" fmla="*/ 366 h 680"/>
                <a:gd name="T24" fmla="*/ 50 w 131"/>
                <a:gd name="T25" fmla="*/ 418 h 680"/>
                <a:gd name="T26" fmla="*/ 50 w 131"/>
                <a:gd name="T27" fmla="*/ 418 h 680"/>
                <a:gd name="T28" fmla="*/ 40 w 131"/>
                <a:gd name="T29" fmla="*/ 471 h 680"/>
                <a:gd name="T30" fmla="*/ 30 w 131"/>
                <a:gd name="T31" fmla="*/ 523 h 680"/>
                <a:gd name="T32" fmla="*/ 30 w 131"/>
                <a:gd name="T33" fmla="*/ 523 h 680"/>
                <a:gd name="T34" fmla="*/ 20 w 131"/>
                <a:gd name="T35" fmla="*/ 576 h 680"/>
                <a:gd name="T36" fmla="*/ 10 w 131"/>
                <a:gd name="T37" fmla="*/ 628 h 680"/>
                <a:gd name="T38" fmla="*/ 10 w 131"/>
                <a:gd name="T39" fmla="*/ 628 h 680"/>
                <a:gd name="T40" fmla="*/ 0 w 131"/>
                <a:gd name="T41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680">
                  <a:moveTo>
                    <a:pt x="131" y="0"/>
                  </a:moveTo>
                  <a:lnTo>
                    <a:pt x="131" y="0"/>
                  </a:lnTo>
                  <a:lnTo>
                    <a:pt x="121" y="52"/>
                  </a:lnTo>
                  <a:moveTo>
                    <a:pt x="111" y="104"/>
                  </a:moveTo>
                  <a:lnTo>
                    <a:pt x="111" y="104"/>
                  </a:lnTo>
                  <a:lnTo>
                    <a:pt x="101" y="157"/>
                  </a:lnTo>
                  <a:moveTo>
                    <a:pt x="91" y="209"/>
                  </a:moveTo>
                  <a:lnTo>
                    <a:pt x="91" y="209"/>
                  </a:lnTo>
                  <a:lnTo>
                    <a:pt x="80" y="261"/>
                  </a:lnTo>
                  <a:moveTo>
                    <a:pt x="70" y="314"/>
                  </a:moveTo>
                  <a:lnTo>
                    <a:pt x="70" y="314"/>
                  </a:lnTo>
                  <a:lnTo>
                    <a:pt x="60" y="366"/>
                  </a:lnTo>
                  <a:moveTo>
                    <a:pt x="50" y="418"/>
                  </a:moveTo>
                  <a:lnTo>
                    <a:pt x="50" y="418"/>
                  </a:lnTo>
                  <a:lnTo>
                    <a:pt x="40" y="471"/>
                  </a:lnTo>
                  <a:moveTo>
                    <a:pt x="30" y="523"/>
                  </a:moveTo>
                  <a:lnTo>
                    <a:pt x="30" y="523"/>
                  </a:lnTo>
                  <a:lnTo>
                    <a:pt x="20" y="576"/>
                  </a:lnTo>
                  <a:moveTo>
                    <a:pt x="10" y="628"/>
                  </a:moveTo>
                  <a:lnTo>
                    <a:pt x="10" y="628"/>
                  </a:lnTo>
                  <a:lnTo>
                    <a:pt x="0" y="68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1" name="Freeform 80"/>
            <p:cNvSpPr>
              <a:spLocks noEditPoints="1"/>
            </p:cNvSpPr>
            <p:nvPr/>
          </p:nvSpPr>
          <p:spPr bwMode="auto">
            <a:xfrm>
              <a:off x="4011" y="1997"/>
              <a:ext cx="215" cy="22"/>
            </a:xfrm>
            <a:custGeom>
              <a:avLst/>
              <a:gdLst>
                <a:gd name="T0" fmla="*/ 1008 w 1008"/>
                <a:gd name="T1" fmla="*/ 0 h 103"/>
                <a:gd name="T2" fmla="*/ 1008 w 1008"/>
                <a:gd name="T3" fmla="*/ 0 h 103"/>
                <a:gd name="T4" fmla="*/ 955 w 1008"/>
                <a:gd name="T5" fmla="*/ 6 h 103"/>
                <a:gd name="T6" fmla="*/ 902 w 1008"/>
                <a:gd name="T7" fmla="*/ 11 h 103"/>
                <a:gd name="T8" fmla="*/ 902 w 1008"/>
                <a:gd name="T9" fmla="*/ 11 h 103"/>
                <a:gd name="T10" fmla="*/ 849 w 1008"/>
                <a:gd name="T11" fmla="*/ 16 h 103"/>
                <a:gd name="T12" fmla="*/ 796 w 1008"/>
                <a:gd name="T13" fmla="*/ 22 h 103"/>
                <a:gd name="T14" fmla="*/ 796 w 1008"/>
                <a:gd name="T15" fmla="*/ 22 h 103"/>
                <a:gd name="T16" fmla="*/ 742 w 1008"/>
                <a:gd name="T17" fmla="*/ 27 h 103"/>
                <a:gd name="T18" fmla="*/ 689 w 1008"/>
                <a:gd name="T19" fmla="*/ 33 h 103"/>
                <a:gd name="T20" fmla="*/ 689 w 1008"/>
                <a:gd name="T21" fmla="*/ 33 h 103"/>
                <a:gd name="T22" fmla="*/ 636 w 1008"/>
                <a:gd name="T23" fmla="*/ 38 h 103"/>
                <a:gd name="T24" fmla="*/ 583 w 1008"/>
                <a:gd name="T25" fmla="*/ 43 h 103"/>
                <a:gd name="T26" fmla="*/ 583 w 1008"/>
                <a:gd name="T27" fmla="*/ 43 h 103"/>
                <a:gd name="T28" fmla="*/ 530 w 1008"/>
                <a:gd name="T29" fmla="*/ 49 h 103"/>
                <a:gd name="T30" fmla="*/ 477 w 1008"/>
                <a:gd name="T31" fmla="*/ 54 h 103"/>
                <a:gd name="T32" fmla="*/ 477 w 1008"/>
                <a:gd name="T33" fmla="*/ 54 h 103"/>
                <a:gd name="T34" fmla="*/ 424 w 1008"/>
                <a:gd name="T35" fmla="*/ 60 h 103"/>
                <a:gd name="T36" fmla="*/ 371 w 1008"/>
                <a:gd name="T37" fmla="*/ 65 h 103"/>
                <a:gd name="T38" fmla="*/ 371 w 1008"/>
                <a:gd name="T39" fmla="*/ 65 h 103"/>
                <a:gd name="T40" fmla="*/ 318 w 1008"/>
                <a:gd name="T41" fmla="*/ 70 h 103"/>
                <a:gd name="T42" fmla="*/ 265 w 1008"/>
                <a:gd name="T43" fmla="*/ 76 h 103"/>
                <a:gd name="T44" fmla="*/ 265 w 1008"/>
                <a:gd name="T45" fmla="*/ 76 h 103"/>
                <a:gd name="T46" fmla="*/ 212 w 1008"/>
                <a:gd name="T47" fmla="*/ 81 h 103"/>
                <a:gd name="T48" fmla="*/ 159 w 1008"/>
                <a:gd name="T49" fmla="*/ 87 h 103"/>
                <a:gd name="T50" fmla="*/ 159 w 1008"/>
                <a:gd name="T51" fmla="*/ 87 h 103"/>
                <a:gd name="T52" fmla="*/ 106 w 1008"/>
                <a:gd name="T53" fmla="*/ 92 h 103"/>
                <a:gd name="T54" fmla="*/ 53 w 1008"/>
                <a:gd name="T55" fmla="*/ 97 h 103"/>
                <a:gd name="T56" fmla="*/ 53 w 1008"/>
                <a:gd name="T57" fmla="*/ 97 h 103"/>
                <a:gd name="T58" fmla="*/ 0 w 1008"/>
                <a:gd name="T5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8" h="103">
                  <a:moveTo>
                    <a:pt x="1008" y="0"/>
                  </a:moveTo>
                  <a:lnTo>
                    <a:pt x="1008" y="0"/>
                  </a:lnTo>
                  <a:lnTo>
                    <a:pt x="955" y="6"/>
                  </a:lnTo>
                  <a:moveTo>
                    <a:pt x="902" y="11"/>
                  </a:moveTo>
                  <a:lnTo>
                    <a:pt x="902" y="11"/>
                  </a:lnTo>
                  <a:lnTo>
                    <a:pt x="849" y="16"/>
                  </a:lnTo>
                  <a:moveTo>
                    <a:pt x="796" y="22"/>
                  </a:moveTo>
                  <a:lnTo>
                    <a:pt x="796" y="22"/>
                  </a:lnTo>
                  <a:lnTo>
                    <a:pt x="742" y="27"/>
                  </a:lnTo>
                  <a:moveTo>
                    <a:pt x="689" y="33"/>
                  </a:moveTo>
                  <a:lnTo>
                    <a:pt x="689" y="33"/>
                  </a:lnTo>
                  <a:lnTo>
                    <a:pt x="636" y="38"/>
                  </a:lnTo>
                  <a:moveTo>
                    <a:pt x="583" y="43"/>
                  </a:moveTo>
                  <a:lnTo>
                    <a:pt x="583" y="43"/>
                  </a:lnTo>
                  <a:lnTo>
                    <a:pt x="530" y="49"/>
                  </a:lnTo>
                  <a:moveTo>
                    <a:pt x="477" y="54"/>
                  </a:moveTo>
                  <a:lnTo>
                    <a:pt x="477" y="54"/>
                  </a:lnTo>
                  <a:lnTo>
                    <a:pt x="424" y="60"/>
                  </a:lnTo>
                  <a:moveTo>
                    <a:pt x="371" y="65"/>
                  </a:moveTo>
                  <a:lnTo>
                    <a:pt x="371" y="65"/>
                  </a:lnTo>
                  <a:lnTo>
                    <a:pt x="318" y="70"/>
                  </a:lnTo>
                  <a:moveTo>
                    <a:pt x="265" y="76"/>
                  </a:moveTo>
                  <a:lnTo>
                    <a:pt x="265" y="76"/>
                  </a:lnTo>
                  <a:lnTo>
                    <a:pt x="212" y="81"/>
                  </a:lnTo>
                  <a:moveTo>
                    <a:pt x="159" y="87"/>
                  </a:moveTo>
                  <a:lnTo>
                    <a:pt x="159" y="87"/>
                  </a:lnTo>
                  <a:lnTo>
                    <a:pt x="106" y="92"/>
                  </a:lnTo>
                  <a:moveTo>
                    <a:pt x="53" y="97"/>
                  </a:moveTo>
                  <a:lnTo>
                    <a:pt x="53" y="97"/>
                  </a:lnTo>
                  <a:lnTo>
                    <a:pt x="0" y="103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4004" y="2029"/>
              <a:ext cx="98" cy="30"/>
            </a:xfrm>
            <a:custGeom>
              <a:avLst/>
              <a:gdLst>
                <a:gd name="T0" fmla="*/ 459 w 459"/>
                <a:gd name="T1" fmla="*/ 140 h 140"/>
                <a:gd name="T2" fmla="*/ 459 w 459"/>
                <a:gd name="T3" fmla="*/ 140 h 140"/>
                <a:gd name="T4" fmla="*/ 408 w 459"/>
                <a:gd name="T5" fmla="*/ 125 h 140"/>
                <a:gd name="T6" fmla="*/ 357 w 459"/>
                <a:gd name="T7" fmla="*/ 109 h 140"/>
                <a:gd name="T8" fmla="*/ 357 w 459"/>
                <a:gd name="T9" fmla="*/ 109 h 140"/>
                <a:gd name="T10" fmla="*/ 306 w 459"/>
                <a:gd name="T11" fmla="*/ 94 h 140"/>
                <a:gd name="T12" fmla="*/ 255 w 459"/>
                <a:gd name="T13" fmla="*/ 78 h 140"/>
                <a:gd name="T14" fmla="*/ 255 w 459"/>
                <a:gd name="T15" fmla="*/ 78 h 140"/>
                <a:gd name="T16" fmla="*/ 204 w 459"/>
                <a:gd name="T17" fmla="*/ 63 h 140"/>
                <a:gd name="T18" fmla="*/ 153 w 459"/>
                <a:gd name="T19" fmla="*/ 47 h 140"/>
                <a:gd name="T20" fmla="*/ 153 w 459"/>
                <a:gd name="T21" fmla="*/ 47 h 140"/>
                <a:gd name="T22" fmla="*/ 102 w 459"/>
                <a:gd name="T23" fmla="*/ 31 h 140"/>
                <a:gd name="T24" fmla="*/ 51 w 459"/>
                <a:gd name="T25" fmla="*/ 16 h 140"/>
                <a:gd name="T26" fmla="*/ 51 w 459"/>
                <a:gd name="T27" fmla="*/ 16 h 140"/>
                <a:gd name="T28" fmla="*/ 0 w 459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9" h="140">
                  <a:moveTo>
                    <a:pt x="459" y="140"/>
                  </a:moveTo>
                  <a:lnTo>
                    <a:pt x="459" y="140"/>
                  </a:lnTo>
                  <a:lnTo>
                    <a:pt x="408" y="125"/>
                  </a:lnTo>
                  <a:moveTo>
                    <a:pt x="357" y="109"/>
                  </a:moveTo>
                  <a:lnTo>
                    <a:pt x="357" y="109"/>
                  </a:lnTo>
                  <a:lnTo>
                    <a:pt x="306" y="94"/>
                  </a:lnTo>
                  <a:moveTo>
                    <a:pt x="255" y="78"/>
                  </a:moveTo>
                  <a:lnTo>
                    <a:pt x="255" y="78"/>
                  </a:lnTo>
                  <a:lnTo>
                    <a:pt x="204" y="63"/>
                  </a:lnTo>
                  <a:moveTo>
                    <a:pt x="153" y="47"/>
                  </a:moveTo>
                  <a:lnTo>
                    <a:pt x="153" y="47"/>
                  </a:lnTo>
                  <a:lnTo>
                    <a:pt x="102" y="31"/>
                  </a:lnTo>
                  <a:moveTo>
                    <a:pt x="51" y="16"/>
                  </a:moveTo>
                  <a:lnTo>
                    <a:pt x="51" y="1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3" name="Freeform 82"/>
            <p:cNvSpPr>
              <a:spLocks noEditPoints="1"/>
            </p:cNvSpPr>
            <p:nvPr/>
          </p:nvSpPr>
          <p:spPr bwMode="auto">
            <a:xfrm>
              <a:off x="4126" y="2002"/>
              <a:ext cx="105" cy="58"/>
            </a:xfrm>
            <a:custGeom>
              <a:avLst/>
              <a:gdLst>
                <a:gd name="T0" fmla="*/ 0 w 491"/>
                <a:gd name="T1" fmla="*/ 270 h 270"/>
                <a:gd name="T2" fmla="*/ 0 w 491"/>
                <a:gd name="T3" fmla="*/ 270 h 270"/>
                <a:gd name="T4" fmla="*/ 47 w 491"/>
                <a:gd name="T5" fmla="*/ 244 h 270"/>
                <a:gd name="T6" fmla="*/ 94 w 491"/>
                <a:gd name="T7" fmla="*/ 218 h 270"/>
                <a:gd name="T8" fmla="*/ 94 w 491"/>
                <a:gd name="T9" fmla="*/ 218 h 270"/>
                <a:gd name="T10" fmla="*/ 141 w 491"/>
                <a:gd name="T11" fmla="*/ 193 h 270"/>
                <a:gd name="T12" fmla="*/ 187 w 491"/>
                <a:gd name="T13" fmla="*/ 167 h 270"/>
                <a:gd name="T14" fmla="*/ 187 w 491"/>
                <a:gd name="T15" fmla="*/ 167 h 270"/>
                <a:gd name="T16" fmla="*/ 234 w 491"/>
                <a:gd name="T17" fmla="*/ 141 h 270"/>
                <a:gd name="T18" fmla="*/ 281 w 491"/>
                <a:gd name="T19" fmla="*/ 116 h 270"/>
                <a:gd name="T20" fmla="*/ 281 w 491"/>
                <a:gd name="T21" fmla="*/ 116 h 270"/>
                <a:gd name="T22" fmla="*/ 328 w 491"/>
                <a:gd name="T23" fmla="*/ 90 h 270"/>
                <a:gd name="T24" fmla="*/ 375 w 491"/>
                <a:gd name="T25" fmla="*/ 64 h 270"/>
                <a:gd name="T26" fmla="*/ 375 w 491"/>
                <a:gd name="T27" fmla="*/ 64 h 270"/>
                <a:gd name="T28" fmla="*/ 421 w 491"/>
                <a:gd name="T29" fmla="*/ 39 h 270"/>
                <a:gd name="T30" fmla="*/ 468 w 491"/>
                <a:gd name="T31" fmla="*/ 13 h 270"/>
                <a:gd name="T32" fmla="*/ 468 w 491"/>
                <a:gd name="T33" fmla="*/ 13 h 270"/>
                <a:gd name="T34" fmla="*/ 491 w 491"/>
                <a:gd name="T3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1" h="270">
                  <a:moveTo>
                    <a:pt x="0" y="270"/>
                  </a:moveTo>
                  <a:lnTo>
                    <a:pt x="0" y="270"/>
                  </a:lnTo>
                  <a:lnTo>
                    <a:pt x="47" y="244"/>
                  </a:lnTo>
                  <a:moveTo>
                    <a:pt x="94" y="218"/>
                  </a:moveTo>
                  <a:lnTo>
                    <a:pt x="94" y="218"/>
                  </a:lnTo>
                  <a:lnTo>
                    <a:pt x="141" y="193"/>
                  </a:lnTo>
                  <a:moveTo>
                    <a:pt x="187" y="167"/>
                  </a:moveTo>
                  <a:lnTo>
                    <a:pt x="187" y="167"/>
                  </a:lnTo>
                  <a:lnTo>
                    <a:pt x="234" y="141"/>
                  </a:lnTo>
                  <a:moveTo>
                    <a:pt x="281" y="116"/>
                  </a:moveTo>
                  <a:lnTo>
                    <a:pt x="281" y="116"/>
                  </a:lnTo>
                  <a:lnTo>
                    <a:pt x="328" y="90"/>
                  </a:lnTo>
                  <a:moveTo>
                    <a:pt x="375" y="64"/>
                  </a:moveTo>
                  <a:lnTo>
                    <a:pt x="375" y="64"/>
                  </a:lnTo>
                  <a:lnTo>
                    <a:pt x="421" y="39"/>
                  </a:lnTo>
                  <a:moveTo>
                    <a:pt x="468" y="13"/>
                  </a:moveTo>
                  <a:lnTo>
                    <a:pt x="468" y="13"/>
                  </a:lnTo>
                  <a:lnTo>
                    <a:pt x="491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4249" y="1945"/>
              <a:ext cx="82" cy="40"/>
            </a:xfrm>
            <a:custGeom>
              <a:avLst/>
              <a:gdLst>
                <a:gd name="T0" fmla="*/ 385 w 385"/>
                <a:gd name="T1" fmla="*/ 0 h 188"/>
                <a:gd name="T2" fmla="*/ 385 w 385"/>
                <a:gd name="T3" fmla="*/ 0 h 188"/>
                <a:gd name="T4" fmla="*/ 337 w 385"/>
                <a:gd name="T5" fmla="*/ 24 h 188"/>
                <a:gd name="T6" fmla="*/ 289 w 385"/>
                <a:gd name="T7" fmla="*/ 47 h 188"/>
                <a:gd name="T8" fmla="*/ 289 w 385"/>
                <a:gd name="T9" fmla="*/ 47 h 188"/>
                <a:gd name="T10" fmla="*/ 241 w 385"/>
                <a:gd name="T11" fmla="*/ 70 h 188"/>
                <a:gd name="T12" fmla="*/ 193 w 385"/>
                <a:gd name="T13" fmla="*/ 94 h 188"/>
                <a:gd name="T14" fmla="*/ 193 w 385"/>
                <a:gd name="T15" fmla="*/ 94 h 188"/>
                <a:gd name="T16" fmla="*/ 145 w 385"/>
                <a:gd name="T17" fmla="*/ 117 h 188"/>
                <a:gd name="T18" fmla="*/ 97 w 385"/>
                <a:gd name="T19" fmla="*/ 140 h 188"/>
                <a:gd name="T20" fmla="*/ 97 w 385"/>
                <a:gd name="T21" fmla="*/ 140 h 188"/>
                <a:gd name="T22" fmla="*/ 49 w 385"/>
                <a:gd name="T23" fmla="*/ 164 h 188"/>
                <a:gd name="T24" fmla="*/ 2 w 385"/>
                <a:gd name="T25" fmla="*/ 187 h 188"/>
                <a:gd name="T26" fmla="*/ 2 w 385"/>
                <a:gd name="T27" fmla="*/ 187 h 188"/>
                <a:gd name="T28" fmla="*/ 0 w 385"/>
                <a:gd name="T29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5" h="188">
                  <a:moveTo>
                    <a:pt x="385" y="0"/>
                  </a:moveTo>
                  <a:lnTo>
                    <a:pt x="385" y="0"/>
                  </a:lnTo>
                  <a:lnTo>
                    <a:pt x="337" y="24"/>
                  </a:lnTo>
                  <a:moveTo>
                    <a:pt x="289" y="47"/>
                  </a:moveTo>
                  <a:lnTo>
                    <a:pt x="289" y="47"/>
                  </a:lnTo>
                  <a:lnTo>
                    <a:pt x="241" y="70"/>
                  </a:lnTo>
                  <a:moveTo>
                    <a:pt x="193" y="94"/>
                  </a:moveTo>
                  <a:lnTo>
                    <a:pt x="193" y="94"/>
                  </a:lnTo>
                  <a:lnTo>
                    <a:pt x="145" y="117"/>
                  </a:lnTo>
                  <a:moveTo>
                    <a:pt x="97" y="140"/>
                  </a:moveTo>
                  <a:lnTo>
                    <a:pt x="97" y="140"/>
                  </a:lnTo>
                  <a:lnTo>
                    <a:pt x="49" y="164"/>
                  </a:lnTo>
                  <a:moveTo>
                    <a:pt x="2" y="187"/>
                  </a:moveTo>
                  <a:lnTo>
                    <a:pt x="2" y="187"/>
                  </a:lnTo>
                  <a:lnTo>
                    <a:pt x="0" y="188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4280" y="1843"/>
              <a:ext cx="54" cy="87"/>
            </a:xfrm>
            <a:custGeom>
              <a:avLst/>
              <a:gdLst>
                <a:gd name="T0" fmla="*/ 249 w 249"/>
                <a:gd name="T1" fmla="*/ 411 h 411"/>
                <a:gd name="T2" fmla="*/ 249 w 249"/>
                <a:gd name="T3" fmla="*/ 411 h 411"/>
                <a:gd name="T4" fmla="*/ 221 w 249"/>
                <a:gd name="T5" fmla="*/ 365 h 411"/>
                <a:gd name="T6" fmla="*/ 194 w 249"/>
                <a:gd name="T7" fmla="*/ 319 h 411"/>
                <a:gd name="T8" fmla="*/ 194 w 249"/>
                <a:gd name="T9" fmla="*/ 319 h 411"/>
                <a:gd name="T10" fmla="*/ 166 w 249"/>
                <a:gd name="T11" fmla="*/ 274 h 411"/>
                <a:gd name="T12" fmla="*/ 138 w 249"/>
                <a:gd name="T13" fmla="*/ 228 h 411"/>
                <a:gd name="T14" fmla="*/ 138 w 249"/>
                <a:gd name="T15" fmla="*/ 228 h 411"/>
                <a:gd name="T16" fmla="*/ 111 w 249"/>
                <a:gd name="T17" fmla="*/ 183 h 411"/>
                <a:gd name="T18" fmla="*/ 83 w 249"/>
                <a:gd name="T19" fmla="*/ 137 h 411"/>
                <a:gd name="T20" fmla="*/ 83 w 249"/>
                <a:gd name="T21" fmla="*/ 137 h 411"/>
                <a:gd name="T22" fmla="*/ 55 w 249"/>
                <a:gd name="T23" fmla="*/ 91 h 411"/>
                <a:gd name="T24" fmla="*/ 28 w 249"/>
                <a:gd name="T25" fmla="*/ 46 h 411"/>
                <a:gd name="T26" fmla="*/ 28 w 249"/>
                <a:gd name="T27" fmla="*/ 46 h 411"/>
                <a:gd name="T28" fmla="*/ 0 w 249"/>
                <a:gd name="T29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9" h="411">
                  <a:moveTo>
                    <a:pt x="249" y="411"/>
                  </a:moveTo>
                  <a:lnTo>
                    <a:pt x="249" y="411"/>
                  </a:lnTo>
                  <a:lnTo>
                    <a:pt x="221" y="365"/>
                  </a:lnTo>
                  <a:moveTo>
                    <a:pt x="194" y="319"/>
                  </a:moveTo>
                  <a:lnTo>
                    <a:pt x="194" y="319"/>
                  </a:lnTo>
                  <a:lnTo>
                    <a:pt x="166" y="274"/>
                  </a:lnTo>
                  <a:moveTo>
                    <a:pt x="138" y="228"/>
                  </a:moveTo>
                  <a:lnTo>
                    <a:pt x="138" y="228"/>
                  </a:lnTo>
                  <a:lnTo>
                    <a:pt x="111" y="183"/>
                  </a:lnTo>
                  <a:moveTo>
                    <a:pt x="83" y="137"/>
                  </a:moveTo>
                  <a:lnTo>
                    <a:pt x="83" y="137"/>
                  </a:lnTo>
                  <a:lnTo>
                    <a:pt x="55" y="91"/>
                  </a:lnTo>
                  <a:moveTo>
                    <a:pt x="28" y="46"/>
                  </a:moveTo>
                  <a:lnTo>
                    <a:pt x="28" y="46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6" name="Freeform 85"/>
            <p:cNvSpPr>
              <a:spLocks noEditPoints="1"/>
            </p:cNvSpPr>
            <p:nvPr/>
          </p:nvSpPr>
          <p:spPr bwMode="auto">
            <a:xfrm>
              <a:off x="4343" y="1810"/>
              <a:ext cx="12" cy="117"/>
            </a:xfrm>
            <a:custGeom>
              <a:avLst/>
              <a:gdLst>
                <a:gd name="T0" fmla="*/ 0 w 60"/>
                <a:gd name="T1" fmla="*/ 546 h 546"/>
                <a:gd name="T2" fmla="*/ 0 w 60"/>
                <a:gd name="T3" fmla="*/ 546 h 546"/>
                <a:gd name="T4" fmla="*/ 6 w 60"/>
                <a:gd name="T5" fmla="*/ 493 h 546"/>
                <a:gd name="T6" fmla="*/ 12 w 60"/>
                <a:gd name="T7" fmla="*/ 440 h 546"/>
                <a:gd name="T8" fmla="*/ 12 w 60"/>
                <a:gd name="T9" fmla="*/ 440 h 546"/>
                <a:gd name="T10" fmla="*/ 18 w 60"/>
                <a:gd name="T11" fmla="*/ 387 h 546"/>
                <a:gd name="T12" fmla="*/ 23 w 60"/>
                <a:gd name="T13" fmla="*/ 334 h 546"/>
                <a:gd name="T14" fmla="*/ 23 w 60"/>
                <a:gd name="T15" fmla="*/ 334 h 546"/>
                <a:gd name="T16" fmla="*/ 29 w 60"/>
                <a:gd name="T17" fmla="*/ 281 h 546"/>
                <a:gd name="T18" fmla="*/ 35 w 60"/>
                <a:gd name="T19" fmla="*/ 228 h 546"/>
                <a:gd name="T20" fmla="*/ 35 w 60"/>
                <a:gd name="T21" fmla="*/ 228 h 546"/>
                <a:gd name="T22" fmla="*/ 41 w 60"/>
                <a:gd name="T23" fmla="*/ 175 h 546"/>
                <a:gd name="T24" fmla="*/ 47 w 60"/>
                <a:gd name="T25" fmla="*/ 122 h 546"/>
                <a:gd name="T26" fmla="*/ 47 w 60"/>
                <a:gd name="T27" fmla="*/ 122 h 546"/>
                <a:gd name="T28" fmla="*/ 53 w 60"/>
                <a:gd name="T29" fmla="*/ 69 h 546"/>
                <a:gd name="T30" fmla="*/ 58 w 60"/>
                <a:gd name="T31" fmla="*/ 16 h 546"/>
                <a:gd name="T32" fmla="*/ 58 w 60"/>
                <a:gd name="T33" fmla="*/ 16 h 546"/>
                <a:gd name="T34" fmla="*/ 60 w 60"/>
                <a:gd name="T35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546">
                  <a:moveTo>
                    <a:pt x="0" y="546"/>
                  </a:moveTo>
                  <a:lnTo>
                    <a:pt x="0" y="546"/>
                  </a:lnTo>
                  <a:lnTo>
                    <a:pt x="6" y="493"/>
                  </a:lnTo>
                  <a:moveTo>
                    <a:pt x="12" y="440"/>
                  </a:moveTo>
                  <a:lnTo>
                    <a:pt x="12" y="440"/>
                  </a:lnTo>
                  <a:lnTo>
                    <a:pt x="18" y="387"/>
                  </a:lnTo>
                  <a:moveTo>
                    <a:pt x="23" y="334"/>
                  </a:moveTo>
                  <a:lnTo>
                    <a:pt x="23" y="334"/>
                  </a:lnTo>
                  <a:lnTo>
                    <a:pt x="29" y="281"/>
                  </a:lnTo>
                  <a:moveTo>
                    <a:pt x="35" y="228"/>
                  </a:moveTo>
                  <a:lnTo>
                    <a:pt x="35" y="228"/>
                  </a:lnTo>
                  <a:lnTo>
                    <a:pt x="41" y="175"/>
                  </a:lnTo>
                  <a:moveTo>
                    <a:pt x="47" y="122"/>
                  </a:moveTo>
                  <a:lnTo>
                    <a:pt x="47" y="122"/>
                  </a:lnTo>
                  <a:lnTo>
                    <a:pt x="53" y="69"/>
                  </a:lnTo>
                  <a:moveTo>
                    <a:pt x="58" y="16"/>
                  </a:moveTo>
                  <a:lnTo>
                    <a:pt x="58" y="16"/>
                  </a:lnTo>
                  <a:lnTo>
                    <a:pt x="6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7" name="Freeform 86"/>
            <p:cNvSpPr>
              <a:spLocks noEditPoints="1"/>
            </p:cNvSpPr>
            <p:nvPr/>
          </p:nvSpPr>
          <p:spPr bwMode="auto">
            <a:xfrm>
              <a:off x="4318" y="1712"/>
              <a:ext cx="31" cy="74"/>
            </a:xfrm>
            <a:custGeom>
              <a:avLst/>
              <a:gdLst>
                <a:gd name="T0" fmla="*/ 143 w 143"/>
                <a:gd name="T1" fmla="*/ 345 h 345"/>
                <a:gd name="T2" fmla="*/ 143 w 143"/>
                <a:gd name="T3" fmla="*/ 345 h 345"/>
                <a:gd name="T4" fmla="*/ 123 w 143"/>
                <a:gd name="T5" fmla="*/ 295 h 345"/>
                <a:gd name="T6" fmla="*/ 102 w 143"/>
                <a:gd name="T7" fmla="*/ 246 h 345"/>
                <a:gd name="T8" fmla="*/ 102 w 143"/>
                <a:gd name="T9" fmla="*/ 246 h 345"/>
                <a:gd name="T10" fmla="*/ 82 w 143"/>
                <a:gd name="T11" fmla="*/ 197 h 345"/>
                <a:gd name="T12" fmla="*/ 61 w 143"/>
                <a:gd name="T13" fmla="*/ 148 h 345"/>
                <a:gd name="T14" fmla="*/ 61 w 143"/>
                <a:gd name="T15" fmla="*/ 148 h 345"/>
                <a:gd name="T16" fmla="*/ 41 w 143"/>
                <a:gd name="T17" fmla="*/ 98 h 345"/>
                <a:gd name="T18" fmla="*/ 20 w 143"/>
                <a:gd name="T19" fmla="*/ 49 h 345"/>
                <a:gd name="T20" fmla="*/ 20 w 143"/>
                <a:gd name="T21" fmla="*/ 49 h 345"/>
                <a:gd name="T22" fmla="*/ 0 w 143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345">
                  <a:moveTo>
                    <a:pt x="143" y="345"/>
                  </a:moveTo>
                  <a:lnTo>
                    <a:pt x="143" y="345"/>
                  </a:lnTo>
                  <a:lnTo>
                    <a:pt x="123" y="295"/>
                  </a:lnTo>
                  <a:moveTo>
                    <a:pt x="102" y="246"/>
                  </a:moveTo>
                  <a:lnTo>
                    <a:pt x="102" y="246"/>
                  </a:lnTo>
                  <a:lnTo>
                    <a:pt x="82" y="197"/>
                  </a:lnTo>
                  <a:moveTo>
                    <a:pt x="61" y="148"/>
                  </a:moveTo>
                  <a:lnTo>
                    <a:pt x="61" y="148"/>
                  </a:lnTo>
                  <a:lnTo>
                    <a:pt x="41" y="98"/>
                  </a:lnTo>
                  <a:moveTo>
                    <a:pt x="20" y="49"/>
                  </a:moveTo>
                  <a:lnTo>
                    <a:pt x="20" y="49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8" name="Freeform 87"/>
            <p:cNvSpPr>
              <a:spLocks noEditPoints="1"/>
            </p:cNvSpPr>
            <p:nvPr/>
          </p:nvSpPr>
          <p:spPr bwMode="auto">
            <a:xfrm>
              <a:off x="4191" y="1701"/>
              <a:ext cx="108" cy="62"/>
            </a:xfrm>
            <a:custGeom>
              <a:avLst/>
              <a:gdLst>
                <a:gd name="T0" fmla="*/ 510 w 510"/>
                <a:gd name="T1" fmla="*/ 0 h 290"/>
                <a:gd name="T2" fmla="*/ 510 w 510"/>
                <a:gd name="T3" fmla="*/ 0 h 290"/>
                <a:gd name="T4" fmla="*/ 463 w 510"/>
                <a:gd name="T5" fmla="*/ 26 h 290"/>
                <a:gd name="T6" fmla="*/ 417 w 510"/>
                <a:gd name="T7" fmla="*/ 52 h 290"/>
                <a:gd name="T8" fmla="*/ 417 w 510"/>
                <a:gd name="T9" fmla="*/ 52 h 290"/>
                <a:gd name="T10" fmla="*/ 371 w 510"/>
                <a:gd name="T11" fmla="*/ 79 h 290"/>
                <a:gd name="T12" fmla="*/ 324 w 510"/>
                <a:gd name="T13" fmla="*/ 105 h 290"/>
                <a:gd name="T14" fmla="*/ 324 w 510"/>
                <a:gd name="T15" fmla="*/ 105 h 290"/>
                <a:gd name="T16" fmla="*/ 278 w 510"/>
                <a:gd name="T17" fmla="*/ 131 h 290"/>
                <a:gd name="T18" fmla="*/ 232 w 510"/>
                <a:gd name="T19" fmla="*/ 158 h 290"/>
                <a:gd name="T20" fmla="*/ 232 w 510"/>
                <a:gd name="T21" fmla="*/ 158 h 290"/>
                <a:gd name="T22" fmla="*/ 185 w 510"/>
                <a:gd name="T23" fmla="*/ 184 h 290"/>
                <a:gd name="T24" fmla="*/ 139 w 510"/>
                <a:gd name="T25" fmla="*/ 210 h 290"/>
                <a:gd name="T26" fmla="*/ 139 w 510"/>
                <a:gd name="T27" fmla="*/ 210 h 290"/>
                <a:gd name="T28" fmla="*/ 92 w 510"/>
                <a:gd name="T29" fmla="*/ 237 h 290"/>
                <a:gd name="T30" fmla="*/ 46 w 510"/>
                <a:gd name="T31" fmla="*/ 263 h 290"/>
                <a:gd name="T32" fmla="*/ 46 w 510"/>
                <a:gd name="T33" fmla="*/ 263 h 290"/>
                <a:gd name="T34" fmla="*/ 0 w 510"/>
                <a:gd name="T35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0" h="290">
                  <a:moveTo>
                    <a:pt x="510" y="0"/>
                  </a:moveTo>
                  <a:lnTo>
                    <a:pt x="510" y="0"/>
                  </a:lnTo>
                  <a:lnTo>
                    <a:pt x="463" y="26"/>
                  </a:lnTo>
                  <a:moveTo>
                    <a:pt x="417" y="52"/>
                  </a:moveTo>
                  <a:lnTo>
                    <a:pt x="417" y="52"/>
                  </a:lnTo>
                  <a:lnTo>
                    <a:pt x="371" y="79"/>
                  </a:lnTo>
                  <a:moveTo>
                    <a:pt x="324" y="105"/>
                  </a:moveTo>
                  <a:lnTo>
                    <a:pt x="324" y="105"/>
                  </a:lnTo>
                  <a:lnTo>
                    <a:pt x="278" y="131"/>
                  </a:lnTo>
                  <a:moveTo>
                    <a:pt x="232" y="158"/>
                  </a:moveTo>
                  <a:lnTo>
                    <a:pt x="232" y="158"/>
                  </a:lnTo>
                  <a:lnTo>
                    <a:pt x="185" y="184"/>
                  </a:lnTo>
                  <a:moveTo>
                    <a:pt x="139" y="210"/>
                  </a:moveTo>
                  <a:lnTo>
                    <a:pt x="139" y="210"/>
                  </a:lnTo>
                  <a:lnTo>
                    <a:pt x="92" y="237"/>
                  </a:lnTo>
                  <a:moveTo>
                    <a:pt x="46" y="263"/>
                  </a:moveTo>
                  <a:lnTo>
                    <a:pt x="46" y="263"/>
                  </a:lnTo>
                  <a:lnTo>
                    <a:pt x="0" y="29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89" name="Freeform 88"/>
            <p:cNvSpPr>
              <a:spLocks noEditPoints="1"/>
            </p:cNvSpPr>
            <p:nvPr/>
          </p:nvSpPr>
          <p:spPr bwMode="auto">
            <a:xfrm>
              <a:off x="4281" y="1703"/>
              <a:ext cx="22" cy="117"/>
            </a:xfrm>
            <a:custGeom>
              <a:avLst/>
              <a:gdLst>
                <a:gd name="T0" fmla="*/ 103 w 103"/>
                <a:gd name="T1" fmla="*/ 0 h 549"/>
                <a:gd name="T2" fmla="*/ 103 w 103"/>
                <a:gd name="T3" fmla="*/ 0 h 549"/>
                <a:gd name="T4" fmla="*/ 93 w 103"/>
                <a:gd name="T5" fmla="*/ 53 h 549"/>
                <a:gd name="T6" fmla="*/ 83 w 103"/>
                <a:gd name="T7" fmla="*/ 105 h 549"/>
                <a:gd name="T8" fmla="*/ 83 w 103"/>
                <a:gd name="T9" fmla="*/ 105 h 549"/>
                <a:gd name="T10" fmla="*/ 73 w 103"/>
                <a:gd name="T11" fmla="*/ 158 h 549"/>
                <a:gd name="T12" fmla="*/ 64 w 103"/>
                <a:gd name="T13" fmla="*/ 210 h 549"/>
                <a:gd name="T14" fmla="*/ 64 w 103"/>
                <a:gd name="T15" fmla="*/ 210 h 549"/>
                <a:gd name="T16" fmla="*/ 54 w 103"/>
                <a:gd name="T17" fmla="*/ 263 h 549"/>
                <a:gd name="T18" fmla="*/ 44 w 103"/>
                <a:gd name="T19" fmla="*/ 315 h 549"/>
                <a:gd name="T20" fmla="*/ 44 w 103"/>
                <a:gd name="T21" fmla="*/ 315 h 549"/>
                <a:gd name="T22" fmla="*/ 34 w 103"/>
                <a:gd name="T23" fmla="*/ 367 h 549"/>
                <a:gd name="T24" fmla="*/ 24 w 103"/>
                <a:gd name="T25" fmla="*/ 420 h 549"/>
                <a:gd name="T26" fmla="*/ 24 w 103"/>
                <a:gd name="T27" fmla="*/ 420 h 549"/>
                <a:gd name="T28" fmla="*/ 15 w 103"/>
                <a:gd name="T29" fmla="*/ 472 h 549"/>
                <a:gd name="T30" fmla="*/ 5 w 103"/>
                <a:gd name="T31" fmla="*/ 525 h 549"/>
                <a:gd name="T32" fmla="*/ 5 w 103"/>
                <a:gd name="T33" fmla="*/ 525 h 549"/>
                <a:gd name="T34" fmla="*/ 0 w 103"/>
                <a:gd name="T35" fmla="*/ 54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" h="549">
                  <a:moveTo>
                    <a:pt x="103" y="0"/>
                  </a:moveTo>
                  <a:lnTo>
                    <a:pt x="103" y="0"/>
                  </a:lnTo>
                  <a:lnTo>
                    <a:pt x="93" y="53"/>
                  </a:lnTo>
                  <a:moveTo>
                    <a:pt x="83" y="105"/>
                  </a:moveTo>
                  <a:lnTo>
                    <a:pt x="83" y="105"/>
                  </a:lnTo>
                  <a:lnTo>
                    <a:pt x="73" y="158"/>
                  </a:lnTo>
                  <a:moveTo>
                    <a:pt x="64" y="210"/>
                  </a:moveTo>
                  <a:lnTo>
                    <a:pt x="64" y="210"/>
                  </a:lnTo>
                  <a:lnTo>
                    <a:pt x="54" y="263"/>
                  </a:lnTo>
                  <a:moveTo>
                    <a:pt x="44" y="315"/>
                  </a:moveTo>
                  <a:lnTo>
                    <a:pt x="44" y="315"/>
                  </a:lnTo>
                  <a:lnTo>
                    <a:pt x="34" y="367"/>
                  </a:lnTo>
                  <a:moveTo>
                    <a:pt x="24" y="420"/>
                  </a:moveTo>
                  <a:lnTo>
                    <a:pt x="24" y="420"/>
                  </a:lnTo>
                  <a:lnTo>
                    <a:pt x="15" y="472"/>
                  </a:lnTo>
                  <a:moveTo>
                    <a:pt x="5" y="525"/>
                  </a:moveTo>
                  <a:lnTo>
                    <a:pt x="5" y="525"/>
                  </a:lnTo>
                  <a:lnTo>
                    <a:pt x="0" y="549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0" name="Freeform 89"/>
            <p:cNvSpPr>
              <a:spLocks noEditPoints="1"/>
            </p:cNvSpPr>
            <p:nvPr/>
          </p:nvSpPr>
          <p:spPr bwMode="auto">
            <a:xfrm>
              <a:off x="4292" y="1806"/>
              <a:ext cx="54" cy="18"/>
            </a:xfrm>
            <a:custGeom>
              <a:avLst/>
              <a:gdLst>
                <a:gd name="T0" fmla="*/ 253 w 253"/>
                <a:gd name="T1" fmla="*/ 0 h 84"/>
                <a:gd name="T2" fmla="*/ 253 w 253"/>
                <a:gd name="T3" fmla="*/ 0 h 84"/>
                <a:gd name="T4" fmla="*/ 202 w 253"/>
                <a:gd name="T5" fmla="*/ 17 h 84"/>
                <a:gd name="T6" fmla="*/ 151 w 253"/>
                <a:gd name="T7" fmla="*/ 33 h 84"/>
                <a:gd name="T8" fmla="*/ 151 w 253"/>
                <a:gd name="T9" fmla="*/ 33 h 84"/>
                <a:gd name="T10" fmla="*/ 101 w 253"/>
                <a:gd name="T11" fmla="*/ 50 h 84"/>
                <a:gd name="T12" fmla="*/ 50 w 253"/>
                <a:gd name="T13" fmla="*/ 67 h 84"/>
                <a:gd name="T14" fmla="*/ 50 w 253"/>
                <a:gd name="T15" fmla="*/ 67 h 84"/>
                <a:gd name="T16" fmla="*/ 0 w 253"/>
                <a:gd name="T1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84">
                  <a:moveTo>
                    <a:pt x="253" y="0"/>
                  </a:moveTo>
                  <a:lnTo>
                    <a:pt x="253" y="0"/>
                  </a:lnTo>
                  <a:lnTo>
                    <a:pt x="202" y="17"/>
                  </a:lnTo>
                  <a:moveTo>
                    <a:pt x="151" y="33"/>
                  </a:moveTo>
                  <a:lnTo>
                    <a:pt x="151" y="33"/>
                  </a:lnTo>
                  <a:lnTo>
                    <a:pt x="101" y="50"/>
                  </a:lnTo>
                  <a:moveTo>
                    <a:pt x="50" y="67"/>
                  </a:moveTo>
                  <a:lnTo>
                    <a:pt x="50" y="67"/>
                  </a:lnTo>
                  <a:lnTo>
                    <a:pt x="0" y="84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1" name="Freeform 90"/>
            <p:cNvSpPr>
              <a:spLocks noEditPoints="1"/>
            </p:cNvSpPr>
            <p:nvPr/>
          </p:nvSpPr>
          <p:spPr bwMode="auto">
            <a:xfrm>
              <a:off x="4309" y="1714"/>
              <a:ext cx="27" cy="214"/>
            </a:xfrm>
            <a:custGeom>
              <a:avLst/>
              <a:gdLst>
                <a:gd name="T0" fmla="*/ 125 w 125"/>
                <a:gd name="T1" fmla="*/ 1005 h 1005"/>
                <a:gd name="T2" fmla="*/ 125 w 125"/>
                <a:gd name="T3" fmla="*/ 1005 h 1005"/>
                <a:gd name="T4" fmla="*/ 119 w 125"/>
                <a:gd name="T5" fmla="*/ 952 h 1005"/>
                <a:gd name="T6" fmla="*/ 112 w 125"/>
                <a:gd name="T7" fmla="*/ 899 h 1005"/>
                <a:gd name="T8" fmla="*/ 112 w 125"/>
                <a:gd name="T9" fmla="*/ 899 h 1005"/>
                <a:gd name="T10" fmla="*/ 105 w 125"/>
                <a:gd name="T11" fmla="*/ 846 h 1005"/>
                <a:gd name="T12" fmla="*/ 99 w 125"/>
                <a:gd name="T13" fmla="*/ 794 h 1005"/>
                <a:gd name="T14" fmla="*/ 99 w 125"/>
                <a:gd name="T15" fmla="*/ 794 h 1005"/>
                <a:gd name="T16" fmla="*/ 92 w 125"/>
                <a:gd name="T17" fmla="*/ 741 h 1005"/>
                <a:gd name="T18" fmla="*/ 86 w 125"/>
                <a:gd name="T19" fmla="*/ 688 h 1005"/>
                <a:gd name="T20" fmla="*/ 86 w 125"/>
                <a:gd name="T21" fmla="*/ 688 h 1005"/>
                <a:gd name="T22" fmla="*/ 79 w 125"/>
                <a:gd name="T23" fmla="*/ 635 h 1005"/>
                <a:gd name="T24" fmla="*/ 73 w 125"/>
                <a:gd name="T25" fmla="*/ 582 h 1005"/>
                <a:gd name="T26" fmla="*/ 73 w 125"/>
                <a:gd name="T27" fmla="*/ 582 h 1005"/>
                <a:gd name="T28" fmla="*/ 66 w 125"/>
                <a:gd name="T29" fmla="*/ 529 h 1005"/>
                <a:gd name="T30" fmla="*/ 59 w 125"/>
                <a:gd name="T31" fmla="*/ 476 h 1005"/>
                <a:gd name="T32" fmla="*/ 59 w 125"/>
                <a:gd name="T33" fmla="*/ 476 h 1005"/>
                <a:gd name="T34" fmla="*/ 53 w 125"/>
                <a:gd name="T35" fmla="*/ 423 h 1005"/>
                <a:gd name="T36" fmla="*/ 46 w 125"/>
                <a:gd name="T37" fmla="*/ 370 h 1005"/>
                <a:gd name="T38" fmla="*/ 46 w 125"/>
                <a:gd name="T39" fmla="*/ 370 h 1005"/>
                <a:gd name="T40" fmla="*/ 40 w 125"/>
                <a:gd name="T41" fmla="*/ 317 h 1005"/>
                <a:gd name="T42" fmla="*/ 33 w 125"/>
                <a:gd name="T43" fmla="*/ 264 h 1005"/>
                <a:gd name="T44" fmla="*/ 33 w 125"/>
                <a:gd name="T45" fmla="*/ 264 h 1005"/>
                <a:gd name="T46" fmla="*/ 27 w 125"/>
                <a:gd name="T47" fmla="*/ 211 h 1005"/>
                <a:gd name="T48" fmla="*/ 20 w 125"/>
                <a:gd name="T49" fmla="*/ 158 h 1005"/>
                <a:gd name="T50" fmla="*/ 20 w 125"/>
                <a:gd name="T51" fmla="*/ 158 h 1005"/>
                <a:gd name="T52" fmla="*/ 14 w 125"/>
                <a:gd name="T53" fmla="*/ 105 h 1005"/>
                <a:gd name="T54" fmla="*/ 7 w 125"/>
                <a:gd name="T55" fmla="*/ 53 h 1005"/>
                <a:gd name="T56" fmla="*/ 7 w 125"/>
                <a:gd name="T57" fmla="*/ 53 h 1005"/>
                <a:gd name="T58" fmla="*/ 0 w 125"/>
                <a:gd name="T59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" h="1005">
                  <a:moveTo>
                    <a:pt x="125" y="1005"/>
                  </a:moveTo>
                  <a:lnTo>
                    <a:pt x="125" y="1005"/>
                  </a:lnTo>
                  <a:lnTo>
                    <a:pt x="119" y="952"/>
                  </a:lnTo>
                  <a:moveTo>
                    <a:pt x="112" y="899"/>
                  </a:moveTo>
                  <a:lnTo>
                    <a:pt x="112" y="899"/>
                  </a:lnTo>
                  <a:lnTo>
                    <a:pt x="105" y="846"/>
                  </a:lnTo>
                  <a:moveTo>
                    <a:pt x="99" y="794"/>
                  </a:moveTo>
                  <a:lnTo>
                    <a:pt x="99" y="794"/>
                  </a:lnTo>
                  <a:lnTo>
                    <a:pt x="92" y="741"/>
                  </a:lnTo>
                  <a:moveTo>
                    <a:pt x="86" y="688"/>
                  </a:moveTo>
                  <a:lnTo>
                    <a:pt x="86" y="688"/>
                  </a:lnTo>
                  <a:lnTo>
                    <a:pt x="79" y="635"/>
                  </a:lnTo>
                  <a:moveTo>
                    <a:pt x="73" y="582"/>
                  </a:moveTo>
                  <a:lnTo>
                    <a:pt x="73" y="582"/>
                  </a:lnTo>
                  <a:lnTo>
                    <a:pt x="66" y="529"/>
                  </a:lnTo>
                  <a:moveTo>
                    <a:pt x="59" y="476"/>
                  </a:moveTo>
                  <a:lnTo>
                    <a:pt x="59" y="476"/>
                  </a:lnTo>
                  <a:lnTo>
                    <a:pt x="53" y="423"/>
                  </a:lnTo>
                  <a:moveTo>
                    <a:pt x="46" y="370"/>
                  </a:moveTo>
                  <a:lnTo>
                    <a:pt x="46" y="370"/>
                  </a:lnTo>
                  <a:lnTo>
                    <a:pt x="40" y="317"/>
                  </a:lnTo>
                  <a:moveTo>
                    <a:pt x="33" y="264"/>
                  </a:moveTo>
                  <a:lnTo>
                    <a:pt x="33" y="264"/>
                  </a:lnTo>
                  <a:lnTo>
                    <a:pt x="27" y="211"/>
                  </a:lnTo>
                  <a:moveTo>
                    <a:pt x="20" y="158"/>
                  </a:moveTo>
                  <a:lnTo>
                    <a:pt x="20" y="158"/>
                  </a:lnTo>
                  <a:lnTo>
                    <a:pt x="14" y="105"/>
                  </a:lnTo>
                  <a:moveTo>
                    <a:pt x="7" y="53"/>
                  </a:moveTo>
                  <a:lnTo>
                    <a:pt x="7" y="5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2" name="Freeform 91"/>
            <p:cNvSpPr>
              <a:spLocks noEditPoints="1"/>
            </p:cNvSpPr>
            <p:nvPr/>
          </p:nvSpPr>
          <p:spPr bwMode="auto">
            <a:xfrm>
              <a:off x="4237" y="1844"/>
              <a:ext cx="37" cy="134"/>
            </a:xfrm>
            <a:custGeom>
              <a:avLst/>
              <a:gdLst>
                <a:gd name="T0" fmla="*/ 173 w 173"/>
                <a:gd name="T1" fmla="*/ 0 h 626"/>
                <a:gd name="T2" fmla="*/ 173 w 173"/>
                <a:gd name="T3" fmla="*/ 0 h 626"/>
                <a:gd name="T4" fmla="*/ 159 w 173"/>
                <a:gd name="T5" fmla="*/ 51 h 626"/>
                <a:gd name="T6" fmla="*/ 145 w 173"/>
                <a:gd name="T7" fmla="*/ 102 h 626"/>
                <a:gd name="T8" fmla="*/ 145 w 173"/>
                <a:gd name="T9" fmla="*/ 102 h 626"/>
                <a:gd name="T10" fmla="*/ 131 w 173"/>
                <a:gd name="T11" fmla="*/ 154 h 626"/>
                <a:gd name="T12" fmla="*/ 116 w 173"/>
                <a:gd name="T13" fmla="*/ 205 h 626"/>
                <a:gd name="T14" fmla="*/ 116 w 173"/>
                <a:gd name="T15" fmla="*/ 205 h 626"/>
                <a:gd name="T16" fmla="*/ 102 w 173"/>
                <a:gd name="T17" fmla="*/ 257 h 626"/>
                <a:gd name="T18" fmla="*/ 88 w 173"/>
                <a:gd name="T19" fmla="*/ 308 h 626"/>
                <a:gd name="T20" fmla="*/ 88 w 173"/>
                <a:gd name="T21" fmla="*/ 308 h 626"/>
                <a:gd name="T22" fmla="*/ 74 w 173"/>
                <a:gd name="T23" fmla="*/ 359 h 626"/>
                <a:gd name="T24" fmla="*/ 59 w 173"/>
                <a:gd name="T25" fmla="*/ 411 h 626"/>
                <a:gd name="T26" fmla="*/ 59 w 173"/>
                <a:gd name="T27" fmla="*/ 411 h 626"/>
                <a:gd name="T28" fmla="*/ 45 w 173"/>
                <a:gd name="T29" fmla="*/ 462 h 626"/>
                <a:gd name="T30" fmla="*/ 31 w 173"/>
                <a:gd name="T31" fmla="*/ 514 h 626"/>
                <a:gd name="T32" fmla="*/ 31 w 173"/>
                <a:gd name="T33" fmla="*/ 514 h 626"/>
                <a:gd name="T34" fmla="*/ 17 w 173"/>
                <a:gd name="T35" fmla="*/ 565 h 626"/>
                <a:gd name="T36" fmla="*/ 3 w 173"/>
                <a:gd name="T37" fmla="*/ 616 h 626"/>
                <a:gd name="T38" fmla="*/ 3 w 173"/>
                <a:gd name="T39" fmla="*/ 616 h 626"/>
                <a:gd name="T40" fmla="*/ 0 w 173"/>
                <a:gd name="T41" fmla="*/ 62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3" h="626">
                  <a:moveTo>
                    <a:pt x="173" y="0"/>
                  </a:moveTo>
                  <a:lnTo>
                    <a:pt x="173" y="0"/>
                  </a:lnTo>
                  <a:lnTo>
                    <a:pt x="159" y="51"/>
                  </a:lnTo>
                  <a:moveTo>
                    <a:pt x="145" y="102"/>
                  </a:moveTo>
                  <a:lnTo>
                    <a:pt x="145" y="102"/>
                  </a:lnTo>
                  <a:lnTo>
                    <a:pt x="131" y="154"/>
                  </a:lnTo>
                  <a:moveTo>
                    <a:pt x="116" y="205"/>
                  </a:moveTo>
                  <a:lnTo>
                    <a:pt x="116" y="205"/>
                  </a:lnTo>
                  <a:lnTo>
                    <a:pt x="102" y="257"/>
                  </a:lnTo>
                  <a:moveTo>
                    <a:pt x="88" y="308"/>
                  </a:moveTo>
                  <a:lnTo>
                    <a:pt x="88" y="308"/>
                  </a:lnTo>
                  <a:lnTo>
                    <a:pt x="74" y="359"/>
                  </a:lnTo>
                  <a:moveTo>
                    <a:pt x="59" y="411"/>
                  </a:moveTo>
                  <a:lnTo>
                    <a:pt x="59" y="411"/>
                  </a:lnTo>
                  <a:lnTo>
                    <a:pt x="45" y="462"/>
                  </a:lnTo>
                  <a:moveTo>
                    <a:pt x="31" y="514"/>
                  </a:moveTo>
                  <a:lnTo>
                    <a:pt x="31" y="514"/>
                  </a:lnTo>
                  <a:lnTo>
                    <a:pt x="17" y="565"/>
                  </a:lnTo>
                  <a:moveTo>
                    <a:pt x="3" y="616"/>
                  </a:moveTo>
                  <a:lnTo>
                    <a:pt x="3" y="616"/>
                  </a:lnTo>
                  <a:lnTo>
                    <a:pt x="0" y="626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3" name="Freeform 92"/>
            <p:cNvSpPr>
              <a:spLocks noEditPoints="1"/>
            </p:cNvSpPr>
            <p:nvPr/>
          </p:nvSpPr>
          <p:spPr bwMode="auto">
            <a:xfrm>
              <a:off x="4155" y="1837"/>
              <a:ext cx="108" cy="49"/>
            </a:xfrm>
            <a:custGeom>
              <a:avLst/>
              <a:gdLst>
                <a:gd name="T0" fmla="*/ 505 w 505"/>
                <a:gd name="T1" fmla="*/ 0 h 227"/>
                <a:gd name="T2" fmla="*/ 505 w 505"/>
                <a:gd name="T3" fmla="*/ 0 h 227"/>
                <a:gd name="T4" fmla="*/ 456 w 505"/>
                <a:gd name="T5" fmla="*/ 21 h 227"/>
                <a:gd name="T6" fmla="*/ 408 w 505"/>
                <a:gd name="T7" fmla="*/ 43 h 227"/>
                <a:gd name="T8" fmla="*/ 408 w 505"/>
                <a:gd name="T9" fmla="*/ 43 h 227"/>
                <a:gd name="T10" fmla="*/ 359 w 505"/>
                <a:gd name="T11" fmla="*/ 65 h 227"/>
                <a:gd name="T12" fmla="*/ 311 w 505"/>
                <a:gd name="T13" fmla="*/ 87 h 227"/>
                <a:gd name="T14" fmla="*/ 311 w 505"/>
                <a:gd name="T15" fmla="*/ 87 h 227"/>
                <a:gd name="T16" fmla="*/ 262 w 505"/>
                <a:gd name="T17" fmla="*/ 109 h 227"/>
                <a:gd name="T18" fmla="*/ 213 w 505"/>
                <a:gd name="T19" fmla="*/ 131 h 227"/>
                <a:gd name="T20" fmla="*/ 213 w 505"/>
                <a:gd name="T21" fmla="*/ 131 h 227"/>
                <a:gd name="T22" fmla="*/ 165 w 505"/>
                <a:gd name="T23" fmla="*/ 153 h 227"/>
                <a:gd name="T24" fmla="*/ 116 w 505"/>
                <a:gd name="T25" fmla="*/ 175 h 227"/>
                <a:gd name="T26" fmla="*/ 116 w 505"/>
                <a:gd name="T27" fmla="*/ 175 h 227"/>
                <a:gd name="T28" fmla="*/ 67 w 505"/>
                <a:gd name="T29" fmla="*/ 197 h 227"/>
                <a:gd name="T30" fmla="*/ 19 w 505"/>
                <a:gd name="T31" fmla="*/ 219 h 227"/>
                <a:gd name="T32" fmla="*/ 19 w 505"/>
                <a:gd name="T33" fmla="*/ 219 h 227"/>
                <a:gd name="T34" fmla="*/ 0 w 505"/>
                <a:gd name="T3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5" h="227">
                  <a:moveTo>
                    <a:pt x="505" y="0"/>
                  </a:moveTo>
                  <a:lnTo>
                    <a:pt x="505" y="0"/>
                  </a:lnTo>
                  <a:lnTo>
                    <a:pt x="456" y="21"/>
                  </a:lnTo>
                  <a:moveTo>
                    <a:pt x="408" y="43"/>
                  </a:moveTo>
                  <a:lnTo>
                    <a:pt x="408" y="43"/>
                  </a:lnTo>
                  <a:lnTo>
                    <a:pt x="359" y="65"/>
                  </a:lnTo>
                  <a:moveTo>
                    <a:pt x="311" y="87"/>
                  </a:moveTo>
                  <a:lnTo>
                    <a:pt x="311" y="87"/>
                  </a:lnTo>
                  <a:lnTo>
                    <a:pt x="262" y="109"/>
                  </a:lnTo>
                  <a:moveTo>
                    <a:pt x="213" y="131"/>
                  </a:moveTo>
                  <a:lnTo>
                    <a:pt x="213" y="131"/>
                  </a:lnTo>
                  <a:lnTo>
                    <a:pt x="165" y="153"/>
                  </a:lnTo>
                  <a:moveTo>
                    <a:pt x="116" y="175"/>
                  </a:moveTo>
                  <a:lnTo>
                    <a:pt x="116" y="175"/>
                  </a:lnTo>
                  <a:lnTo>
                    <a:pt x="67" y="197"/>
                  </a:lnTo>
                  <a:moveTo>
                    <a:pt x="19" y="219"/>
                  </a:moveTo>
                  <a:lnTo>
                    <a:pt x="19" y="219"/>
                  </a:lnTo>
                  <a:lnTo>
                    <a:pt x="0" y="227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4" name="Freeform 93"/>
            <p:cNvSpPr>
              <a:spLocks noEditPoints="1"/>
            </p:cNvSpPr>
            <p:nvPr/>
          </p:nvSpPr>
          <p:spPr bwMode="auto">
            <a:xfrm>
              <a:off x="4195" y="1783"/>
              <a:ext cx="68" cy="43"/>
            </a:xfrm>
            <a:custGeom>
              <a:avLst/>
              <a:gdLst>
                <a:gd name="T0" fmla="*/ 316 w 316"/>
                <a:gd name="T1" fmla="*/ 199 h 199"/>
                <a:gd name="T2" fmla="*/ 316 w 316"/>
                <a:gd name="T3" fmla="*/ 199 h 199"/>
                <a:gd name="T4" fmla="*/ 271 w 316"/>
                <a:gd name="T5" fmla="*/ 171 h 199"/>
                <a:gd name="T6" fmla="*/ 226 w 316"/>
                <a:gd name="T7" fmla="*/ 142 h 199"/>
                <a:gd name="T8" fmla="*/ 226 w 316"/>
                <a:gd name="T9" fmla="*/ 142 h 199"/>
                <a:gd name="T10" fmla="*/ 181 w 316"/>
                <a:gd name="T11" fmla="*/ 114 h 199"/>
                <a:gd name="T12" fmla="*/ 135 w 316"/>
                <a:gd name="T13" fmla="*/ 85 h 199"/>
                <a:gd name="T14" fmla="*/ 135 w 316"/>
                <a:gd name="T15" fmla="*/ 85 h 199"/>
                <a:gd name="T16" fmla="*/ 90 w 316"/>
                <a:gd name="T17" fmla="*/ 57 h 199"/>
                <a:gd name="T18" fmla="*/ 45 w 316"/>
                <a:gd name="T19" fmla="*/ 28 h 199"/>
                <a:gd name="T20" fmla="*/ 45 w 316"/>
                <a:gd name="T21" fmla="*/ 28 h 199"/>
                <a:gd name="T22" fmla="*/ 0 w 316"/>
                <a:gd name="T2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6" h="199">
                  <a:moveTo>
                    <a:pt x="316" y="199"/>
                  </a:moveTo>
                  <a:lnTo>
                    <a:pt x="316" y="199"/>
                  </a:lnTo>
                  <a:lnTo>
                    <a:pt x="271" y="171"/>
                  </a:lnTo>
                  <a:moveTo>
                    <a:pt x="226" y="142"/>
                  </a:moveTo>
                  <a:lnTo>
                    <a:pt x="226" y="142"/>
                  </a:lnTo>
                  <a:lnTo>
                    <a:pt x="181" y="114"/>
                  </a:lnTo>
                  <a:moveTo>
                    <a:pt x="135" y="85"/>
                  </a:moveTo>
                  <a:lnTo>
                    <a:pt x="135" y="85"/>
                  </a:lnTo>
                  <a:lnTo>
                    <a:pt x="90" y="57"/>
                  </a:lnTo>
                  <a:moveTo>
                    <a:pt x="45" y="28"/>
                  </a:moveTo>
                  <a:lnTo>
                    <a:pt x="45" y="28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5" name="Freeform 94"/>
            <p:cNvSpPr>
              <a:spLocks noEditPoints="1"/>
            </p:cNvSpPr>
            <p:nvPr/>
          </p:nvSpPr>
          <p:spPr bwMode="auto">
            <a:xfrm>
              <a:off x="4183" y="1780"/>
              <a:ext cx="45" cy="202"/>
            </a:xfrm>
            <a:custGeom>
              <a:avLst/>
              <a:gdLst>
                <a:gd name="T0" fmla="*/ 209 w 209"/>
                <a:gd name="T1" fmla="*/ 945 h 945"/>
                <a:gd name="T2" fmla="*/ 209 w 209"/>
                <a:gd name="T3" fmla="*/ 945 h 945"/>
                <a:gd name="T4" fmla="*/ 198 w 209"/>
                <a:gd name="T5" fmla="*/ 893 h 945"/>
                <a:gd name="T6" fmla="*/ 186 w 209"/>
                <a:gd name="T7" fmla="*/ 841 h 945"/>
                <a:gd name="T8" fmla="*/ 186 w 209"/>
                <a:gd name="T9" fmla="*/ 841 h 945"/>
                <a:gd name="T10" fmla="*/ 175 w 209"/>
                <a:gd name="T11" fmla="*/ 789 h 945"/>
                <a:gd name="T12" fmla="*/ 163 w 209"/>
                <a:gd name="T13" fmla="*/ 736 h 945"/>
                <a:gd name="T14" fmla="*/ 163 w 209"/>
                <a:gd name="T15" fmla="*/ 736 h 945"/>
                <a:gd name="T16" fmla="*/ 152 w 209"/>
                <a:gd name="T17" fmla="*/ 684 h 945"/>
                <a:gd name="T18" fmla="*/ 140 w 209"/>
                <a:gd name="T19" fmla="*/ 632 h 945"/>
                <a:gd name="T20" fmla="*/ 140 w 209"/>
                <a:gd name="T21" fmla="*/ 632 h 945"/>
                <a:gd name="T22" fmla="*/ 129 w 209"/>
                <a:gd name="T23" fmla="*/ 580 h 945"/>
                <a:gd name="T24" fmla="*/ 117 w 209"/>
                <a:gd name="T25" fmla="*/ 528 h 945"/>
                <a:gd name="T26" fmla="*/ 117 w 209"/>
                <a:gd name="T27" fmla="*/ 528 h 945"/>
                <a:gd name="T28" fmla="*/ 106 w 209"/>
                <a:gd name="T29" fmla="*/ 476 h 945"/>
                <a:gd name="T30" fmla="*/ 94 w 209"/>
                <a:gd name="T31" fmla="*/ 424 h 945"/>
                <a:gd name="T32" fmla="*/ 94 w 209"/>
                <a:gd name="T33" fmla="*/ 424 h 945"/>
                <a:gd name="T34" fmla="*/ 83 w 209"/>
                <a:gd name="T35" fmla="*/ 372 h 945"/>
                <a:gd name="T36" fmla="*/ 71 w 209"/>
                <a:gd name="T37" fmla="*/ 320 h 945"/>
                <a:gd name="T38" fmla="*/ 71 w 209"/>
                <a:gd name="T39" fmla="*/ 320 h 945"/>
                <a:gd name="T40" fmla="*/ 60 w 209"/>
                <a:gd name="T41" fmla="*/ 268 h 945"/>
                <a:gd name="T42" fmla="*/ 48 w 209"/>
                <a:gd name="T43" fmla="*/ 216 h 945"/>
                <a:gd name="T44" fmla="*/ 48 w 209"/>
                <a:gd name="T45" fmla="*/ 216 h 945"/>
                <a:gd name="T46" fmla="*/ 37 w 209"/>
                <a:gd name="T47" fmla="*/ 164 h 945"/>
                <a:gd name="T48" fmla="*/ 25 w 209"/>
                <a:gd name="T49" fmla="*/ 112 h 945"/>
                <a:gd name="T50" fmla="*/ 25 w 209"/>
                <a:gd name="T51" fmla="*/ 112 h 945"/>
                <a:gd name="T52" fmla="*/ 14 w 209"/>
                <a:gd name="T53" fmla="*/ 59 h 945"/>
                <a:gd name="T54" fmla="*/ 2 w 209"/>
                <a:gd name="T55" fmla="*/ 7 h 945"/>
                <a:gd name="T56" fmla="*/ 2 w 209"/>
                <a:gd name="T57" fmla="*/ 7 h 945"/>
                <a:gd name="T58" fmla="*/ 0 w 209"/>
                <a:gd name="T5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9" h="945">
                  <a:moveTo>
                    <a:pt x="209" y="945"/>
                  </a:moveTo>
                  <a:lnTo>
                    <a:pt x="209" y="945"/>
                  </a:lnTo>
                  <a:lnTo>
                    <a:pt x="198" y="893"/>
                  </a:lnTo>
                  <a:moveTo>
                    <a:pt x="186" y="841"/>
                  </a:moveTo>
                  <a:lnTo>
                    <a:pt x="186" y="841"/>
                  </a:lnTo>
                  <a:lnTo>
                    <a:pt x="175" y="789"/>
                  </a:lnTo>
                  <a:moveTo>
                    <a:pt x="163" y="736"/>
                  </a:moveTo>
                  <a:lnTo>
                    <a:pt x="163" y="736"/>
                  </a:lnTo>
                  <a:lnTo>
                    <a:pt x="152" y="684"/>
                  </a:lnTo>
                  <a:moveTo>
                    <a:pt x="140" y="632"/>
                  </a:moveTo>
                  <a:lnTo>
                    <a:pt x="140" y="632"/>
                  </a:lnTo>
                  <a:lnTo>
                    <a:pt x="129" y="580"/>
                  </a:lnTo>
                  <a:moveTo>
                    <a:pt x="117" y="528"/>
                  </a:moveTo>
                  <a:lnTo>
                    <a:pt x="117" y="528"/>
                  </a:lnTo>
                  <a:lnTo>
                    <a:pt x="106" y="476"/>
                  </a:lnTo>
                  <a:moveTo>
                    <a:pt x="94" y="424"/>
                  </a:moveTo>
                  <a:lnTo>
                    <a:pt x="94" y="424"/>
                  </a:lnTo>
                  <a:lnTo>
                    <a:pt x="83" y="372"/>
                  </a:lnTo>
                  <a:moveTo>
                    <a:pt x="71" y="320"/>
                  </a:moveTo>
                  <a:lnTo>
                    <a:pt x="71" y="320"/>
                  </a:lnTo>
                  <a:lnTo>
                    <a:pt x="60" y="268"/>
                  </a:lnTo>
                  <a:moveTo>
                    <a:pt x="48" y="216"/>
                  </a:moveTo>
                  <a:lnTo>
                    <a:pt x="48" y="216"/>
                  </a:lnTo>
                  <a:lnTo>
                    <a:pt x="37" y="164"/>
                  </a:lnTo>
                  <a:moveTo>
                    <a:pt x="25" y="112"/>
                  </a:moveTo>
                  <a:lnTo>
                    <a:pt x="25" y="112"/>
                  </a:lnTo>
                  <a:lnTo>
                    <a:pt x="14" y="59"/>
                  </a:lnTo>
                  <a:moveTo>
                    <a:pt x="2" y="7"/>
                  </a:move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6" name="Freeform 95"/>
            <p:cNvSpPr>
              <a:spLocks noEditPoints="1"/>
            </p:cNvSpPr>
            <p:nvPr/>
          </p:nvSpPr>
          <p:spPr bwMode="auto">
            <a:xfrm>
              <a:off x="4143" y="1780"/>
              <a:ext cx="28" cy="98"/>
            </a:xfrm>
            <a:custGeom>
              <a:avLst/>
              <a:gdLst>
                <a:gd name="T0" fmla="*/ 0 w 132"/>
                <a:gd name="T1" fmla="*/ 461 h 461"/>
                <a:gd name="T2" fmla="*/ 0 w 132"/>
                <a:gd name="T3" fmla="*/ 461 h 461"/>
                <a:gd name="T4" fmla="*/ 15 w 132"/>
                <a:gd name="T5" fmla="*/ 409 h 461"/>
                <a:gd name="T6" fmla="*/ 29 w 132"/>
                <a:gd name="T7" fmla="*/ 358 h 461"/>
                <a:gd name="T8" fmla="*/ 29 w 132"/>
                <a:gd name="T9" fmla="*/ 358 h 461"/>
                <a:gd name="T10" fmla="*/ 44 w 132"/>
                <a:gd name="T11" fmla="*/ 307 h 461"/>
                <a:gd name="T12" fmla="*/ 59 w 132"/>
                <a:gd name="T13" fmla="*/ 255 h 461"/>
                <a:gd name="T14" fmla="*/ 59 w 132"/>
                <a:gd name="T15" fmla="*/ 255 h 461"/>
                <a:gd name="T16" fmla="*/ 74 w 132"/>
                <a:gd name="T17" fmla="*/ 204 h 461"/>
                <a:gd name="T18" fmla="*/ 88 w 132"/>
                <a:gd name="T19" fmla="*/ 153 h 461"/>
                <a:gd name="T20" fmla="*/ 88 w 132"/>
                <a:gd name="T21" fmla="*/ 153 h 461"/>
                <a:gd name="T22" fmla="*/ 103 w 132"/>
                <a:gd name="T23" fmla="*/ 102 h 461"/>
                <a:gd name="T24" fmla="*/ 118 w 132"/>
                <a:gd name="T25" fmla="*/ 50 h 461"/>
                <a:gd name="T26" fmla="*/ 118 w 132"/>
                <a:gd name="T27" fmla="*/ 50 h 461"/>
                <a:gd name="T28" fmla="*/ 132 w 132"/>
                <a:gd name="T29" fmla="*/ 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461">
                  <a:moveTo>
                    <a:pt x="0" y="461"/>
                  </a:moveTo>
                  <a:lnTo>
                    <a:pt x="0" y="461"/>
                  </a:lnTo>
                  <a:lnTo>
                    <a:pt x="15" y="409"/>
                  </a:lnTo>
                  <a:moveTo>
                    <a:pt x="29" y="358"/>
                  </a:moveTo>
                  <a:lnTo>
                    <a:pt x="29" y="358"/>
                  </a:lnTo>
                  <a:lnTo>
                    <a:pt x="44" y="307"/>
                  </a:lnTo>
                  <a:moveTo>
                    <a:pt x="59" y="255"/>
                  </a:moveTo>
                  <a:lnTo>
                    <a:pt x="59" y="255"/>
                  </a:lnTo>
                  <a:lnTo>
                    <a:pt x="74" y="204"/>
                  </a:lnTo>
                  <a:moveTo>
                    <a:pt x="88" y="153"/>
                  </a:moveTo>
                  <a:lnTo>
                    <a:pt x="88" y="153"/>
                  </a:lnTo>
                  <a:lnTo>
                    <a:pt x="103" y="102"/>
                  </a:lnTo>
                  <a:moveTo>
                    <a:pt x="118" y="50"/>
                  </a:moveTo>
                  <a:lnTo>
                    <a:pt x="118" y="50"/>
                  </a:lnTo>
                  <a:lnTo>
                    <a:pt x="132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7" name="Freeform 96"/>
            <p:cNvSpPr>
              <a:spLocks noEditPoints="1"/>
            </p:cNvSpPr>
            <p:nvPr/>
          </p:nvSpPr>
          <p:spPr bwMode="auto">
            <a:xfrm>
              <a:off x="4046" y="1817"/>
              <a:ext cx="215" cy="14"/>
            </a:xfrm>
            <a:custGeom>
              <a:avLst/>
              <a:gdLst>
                <a:gd name="T0" fmla="*/ 1007 w 1007"/>
                <a:gd name="T1" fmla="*/ 65 h 65"/>
                <a:gd name="T2" fmla="*/ 1007 w 1007"/>
                <a:gd name="T3" fmla="*/ 65 h 65"/>
                <a:gd name="T4" fmla="*/ 954 w 1007"/>
                <a:gd name="T5" fmla="*/ 61 h 65"/>
                <a:gd name="T6" fmla="*/ 901 w 1007"/>
                <a:gd name="T7" fmla="*/ 58 h 65"/>
                <a:gd name="T8" fmla="*/ 901 w 1007"/>
                <a:gd name="T9" fmla="*/ 58 h 65"/>
                <a:gd name="T10" fmla="*/ 847 w 1007"/>
                <a:gd name="T11" fmla="*/ 54 h 65"/>
                <a:gd name="T12" fmla="*/ 794 w 1007"/>
                <a:gd name="T13" fmla="*/ 51 h 65"/>
                <a:gd name="T14" fmla="*/ 794 w 1007"/>
                <a:gd name="T15" fmla="*/ 51 h 65"/>
                <a:gd name="T16" fmla="*/ 741 w 1007"/>
                <a:gd name="T17" fmla="*/ 48 h 65"/>
                <a:gd name="T18" fmla="*/ 688 w 1007"/>
                <a:gd name="T19" fmla="*/ 44 h 65"/>
                <a:gd name="T20" fmla="*/ 688 w 1007"/>
                <a:gd name="T21" fmla="*/ 44 h 65"/>
                <a:gd name="T22" fmla="*/ 635 w 1007"/>
                <a:gd name="T23" fmla="*/ 41 h 65"/>
                <a:gd name="T24" fmla="*/ 581 w 1007"/>
                <a:gd name="T25" fmla="*/ 37 h 65"/>
                <a:gd name="T26" fmla="*/ 581 w 1007"/>
                <a:gd name="T27" fmla="*/ 37 h 65"/>
                <a:gd name="T28" fmla="*/ 528 w 1007"/>
                <a:gd name="T29" fmla="*/ 34 h 65"/>
                <a:gd name="T30" fmla="*/ 475 w 1007"/>
                <a:gd name="T31" fmla="*/ 31 h 65"/>
                <a:gd name="T32" fmla="*/ 475 w 1007"/>
                <a:gd name="T33" fmla="*/ 31 h 65"/>
                <a:gd name="T34" fmla="*/ 422 w 1007"/>
                <a:gd name="T35" fmla="*/ 27 h 65"/>
                <a:gd name="T36" fmla="*/ 368 w 1007"/>
                <a:gd name="T37" fmla="*/ 24 h 65"/>
                <a:gd name="T38" fmla="*/ 368 w 1007"/>
                <a:gd name="T39" fmla="*/ 24 h 65"/>
                <a:gd name="T40" fmla="*/ 315 w 1007"/>
                <a:gd name="T41" fmla="*/ 20 h 65"/>
                <a:gd name="T42" fmla="*/ 262 w 1007"/>
                <a:gd name="T43" fmla="*/ 17 h 65"/>
                <a:gd name="T44" fmla="*/ 262 w 1007"/>
                <a:gd name="T45" fmla="*/ 17 h 65"/>
                <a:gd name="T46" fmla="*/ 209 w 1007"/>
                <a:gd name="T47" fmla="*/ 14 h 65"/>
                <a:gd name="T48" fmla="*/ 156 w 1007"/>
                <a:gd name="T49" fmla="*/ 10 h 65"/>
                <a:gd name="T50" fmla="*/ 156 w 1007"/>
                <a:gd name="T51" fmla="*/ 10 h 65"/>
                <a:gd name="T52" fmla="*/ 102 w 1007"/>
                <a:gd name="T53" fmla="*/ 7 h 65"/>
                <a:gd name="T54" fmla="*/ 49 w 1007"/>
                <a:gd name="T55" fmla="*/ 3 h 65"/>
                <a:gd name="T56" fmla="*/ 49 w 1007"/>
                <a:gd name="T57" fmla="*/ 3 h 65"/>
                <a:gd name="T58" fmla="*/ 0 w 1007"/>
                <a:gd name="T5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07" h="65">
                  <a:moveTo>
                    <a:pt x="1007" y="65"/>
                  </a:moveTo>
                  <a:lnTo>
                    <a:pt x="1007" y="65"/>
                  </a:lnTo>
                  <a:lnTo>
                    <a:pt x="954" y="61"/>
                  </a:lnTo>
                  <a:moveTo>
                    <a:pt x="901" y="58"/>
                  </a:moveTo>
                  <a:lnTo>
                    <a:pt x="901" y="58"/>
                  </a:lnTo>
                  <a:lnTo>
                    <a:pt x="847" y="54"/>
                  </a:lnTo>
                  <a:moveTo>
                    <a:pt x="794" y="51"/>
                  </a:moveTo>
                  <a:lnTo>
                    <a:pt x="794" y="51"/>
                  </a:lnTo>
                  <a:lnTo>
                    <a:pt x="741" y="48"/>
                  </a:lnTo>
                  <a:moveTo>
                    <a:pt x="688" y="44"/>
                  </a:moveTo>
                  <a:lnTo>
                    <a:pt x="688" y="44"/>
                  </a:lnTo>
                  <a:lnTo>
                    <a:pt x="635" y="41"/>
                  </a:lnTo>
                  <a:moveTo>
                    <a:pt x="581" y="37"/>
                  </a:moveTo>
                  <a:lnTo>
                    <a:pt x="581" y="37"/>
                  </a:lnTo>
                  <a:lnTo>
                    <a:pt x="528" y="34"/>
                  </a:lnTo>
                  <a:moveTo>
                    <a:pt x="475" y="31"/>
                  </a:moveTo>
                  <a:lnTo>
                    <a:pt x="475" y="31"/>
                  </a:lnTo>
                  <a:lnTo>
                    <a:pt x="422" y="27"/>
                  </a:lnTo>
                  <a:moveTo>
                    <a:pt x="368" y="24"/>
                  </a:moveTo>
                  <a:lnTo>
                    <a:pt x="368" y="24"/>
                  </a:lnTo>
                  <a:lnTo>
                    <a:pt x="315" y="20"/>
                  </a:lnTo>
                  <a:moveTo>
                    <a:pt x="262" y="17"/>
                  </a:moveTo>
                  <a:lnTo>
                    <a:pt x="262" y="17"/>
                  </a:lnTo>
                  <a:lnTo>
                    <a:pt x="209" y="14"/>
                  </a:lnTo>
                  <a:moveTo>
                    <a:pt x="156" y="10"/>
                  </a:moveTo>
                  <a:lnTo>
                    <a:pt x="156" y="10"/>
                  </a:lnTo>
                  <a:lnTo>
                    <a:pt x="102" y="7"/>
                  </a:lnTo>
                  <a:moveTo>
                    <a:pt x="49" y="3"/>
                  </a:moveTo>
                  <a:lnTo>
                    <a:pt x="49" y="3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8" name="Freeform 97"/>
            <p:cNvSpPr>
              <a:spLocks noEditPoints="1"/>
            </p:cNvSpPr>
            <p:nvPr/>
          </p:nvSpPr>
          <p:spPr bwMode="auto">
            <a:xfrm>
              <a:off x="4163" y="1902"/>
              <a:ext cx="167" cy="37"/>
            </a:xfrm>
            <a:custGeom>
              <a:avLst/>
              <a:gdLst>
                <a:gd name="T0" fmla="*/ 781 w 781"/>
                <a:gd name="T1" fmla="*/ 173 h 173"/>
                <a:gd name="T2" fmla="*/ 781 w 781"/>
                <a:gd name="T3" fmla="*/ 173 h 173"/>
                <a:gd name="T4" fmla="*/ 729 w 781"/>
                <a:gd name="T5" fmla="*/ 162 h 173"/>
                <a:gd name="T6" fmla="*/ 677 w 781"/>
                <a:gd name="T7" fmla="*/ 150 h 173"/>
                <a:gd name="T8" fmla="*/ 677 w 781"/>
                <a:gd name="T9" fmla="*/ 150 h 173"/>
                <a:gd name="T10" fmla="*/ 625 w 781"/>
                <a:gd name="T11" fmla="*/ 139 h 173"/>
                <a:gd name="T12" fmla="*/ 573 w 781"/>
                <a:gd name="T13" fmla="*/ 127 h 173"/>
                <a:gd name="T14" fmla="*/ 573 w 781"/>
                <a:gd name="T15" fmla="*/ 127 h 173"/>
                <a:gd name="T16" fmla="*/ 521 w 781"/>
                <a:gd name="T17" fmla="*/ 115 h 173"/>
                <a:gd name="T18" fmla="*/ 469 w 781"/>
                <a:gd name="T19" fmla="*/ 104 h 173"/>
                <a:gd name="T20" fmla="*/ 469 w 781"/>
                <a:gd name="T21" fmla="*/ 104 h 173"/>
                <a:gd name="T22" fmla="*/ 417 w 781"/>
                <a:gd name="T23" fmla="*/ 92 h 173"/>
                <a:gd name="T24" fmla="*/ 365 w 781"/>
                <a:gd name="T25" fmla="*/ 81 h 173"/>
                <a:gd name="T26" fmla="*/ 365 w 781"/>
                <a:gd name="T27" fmla="*/ 81 h 173"/>
                <a:gd name="T28" fmla="*/ 313 w 781"/>
                <a:gd name="T29" fmla="*/ 69 h 173"/>
                <a:gd name="T30" fmla="*/ 260 w 781"/>
                <a:gd name="T31" fmla="*/ 58 h 173"/>
                <a:gd name="T32" fmla="*/ 260 w 781"/>
                <a:gd name="T33" fmla="*/ 58 h 173"/>
                <a:gd name="T34" fmla="*/ 208 w 781"/>
                <a:gd name="T35" fmla="*/ 46 h 173"/>
                <a:gd name="T36" fmla="*/ 156 w 781"/>
                <a:gd name="T37" fmla="*/ 35 h 173"/>
                <a:gd name="T38" fmla="*/ 156 w 781"/>
                <a:gd name="T39" fmla="*/ 35 h 173"/>
                <a:gd name="T40" fmla="*/ 104 w 781"/>
                <a:gd name="T41" fmla="*/ 23 h 173"/>
                <a:gd name="T42" fmla="*/ 52 w 781"/>
                <a:gd name="T43" fmla="*/ 12 h 173"/>
                <a:gd name="T44" fmla="*/ 52 w 781"/>
                <a:gd name="T45" fmla="*/ 12 h 173"/>
                <a:gd name="T46" fmla="*/ 0 w 781"/>
                <a:gd name="T4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1" h="173">
                  <a:moveTo>
                    <a:pt x="781" y="173"/>
                  </a:moveTo>
                  <a:lnTo>
                    <a:pt x="781" y="173"/>
                  </a:lnTo>
                  <a:lnTo>
                    <a:pt x="729" y="162"/>
                  </a:lnTo>
                  <a:moveTo>
                    <a:pt x="677" y="150"/>
                  </a:moveTo>
                  <a:lnTo>
                    <a:pt x="677" y="150"/>
                  </a:lnTo>
                  <a:lnTo>
                    <a:pt x="625" y="139"/>
                  </a:lnTo>
                  <a:moveTo>
                    <a:pt x="573" y="127"/>
                  </a:moveTo>
                  <a:lnTo>
                    <a:pt x="573" y="127"/>
                  </a:lnTo>
                  <a:lnTo>
                    <a:pt x="521" y="115"/>
                  </a:lnTo>
                  <a:moveTo>
                    <a:pt x="469" y="104"/>
                  </a:moveTo>
                  <a:lnTo>
                    <a:pt x="469" y="104"/>
                  </a:lnTo>
                  <a:lnTo>
                    <a:pt x="417" y="92"/>
                  </a:lnTo>
                  <a:moveTo>
                    <a:pt x="365" y="81"/>
                  </a:moveTo>
                  <a:lnTo>
                    <a:pt x="365" y="81"/>
                  </a:lnTo>
                  <a:lnTo>
                    <a:pt x="313" y="69"/>
                  </a:lnTo>
                  <a:moveTo>
                    <a:pt x="260" y="58"/>
                  </a:moveTo>
                  <a:lnTo>
                    <a:pt x="260" y="58"/>
                  </a:lnTo>
                  <a:lnTo>
                    <a:pt x="208" y="46"/>
                  </a:lnTo>
                  <a:moveTo>
                    <a:pt x="156" y="35"/>
                  </a:moveTo>
                  <a:lnTo>
                    <a:pt x="156" y="35"/>
                  </a:lnTo>
                  <a:lnTo>
                    <a:pt x="104" y="23"/>
                  </a:lnTo>
                  <a:moveTo>
                    <a:pt x="52" y="12"/>
                  </a:moveTo>
                  <a:lnTo>
                    <a:pt x="52" y="12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  <p:sp>
          <p:nvSpPr>
            <p:cNvPr id="99" name="Freeform 98"/>
            <p:cNvSpPr>
              <a:spLocks noEditPoints="1"/>
            </p:cNvSpPr>
            <p:nvPr/>
          </p:nvSpPr>
          <p:spPr bwMode="auto">
            <a:xfrm>
              <a:off x="4050" y="1824"/>
              <a:ext cx="84" cy="58"/>
            </a:xfrm>
            <a:custGeom>
              <a:avLst/>
              <a:gdLst>
                <a:gd name="T0" fmla="*/ 396 w 396"/>
                <a:gd name="T1" fmla="*/ 271 h 271"/>
                <a:gd name="T2" fmla="*/ 396 w 396"/>
                <a:gd name="T3" fmla="*/ 271 h 271"/>
                <a:gd name="T4" fmla="*/ 352 w 396"/>
                <a:gd name="T5" fmla="*/ 241 h 271"/>
                <a:gd name="T6" fmla="*/ 308 w 396"/>
                <a:gd name="T7" fmla="*/ 211 h 271"/>
                <a:gd name="T8" fmla="*/ 308 w 396"/>
                <a:gd name="T9" fmla="*/ 211 h 271"/>
                <a:gd name="T10" fmla="*/ 264 w 396"/>
                <a:gd name="T11" fmla="*/ 181 h 271"/>
                <a:gd name="T12" fmla="*/ 220 w 396"/>
                <a:gd name="T13" fmla="*/ 151 h 271"/>
                <a:gd name="T14" fmla="*/ 220 w 396"/>
                <a:gd name="T15" fmla="*/ 151 h 271"/>
                <a:gd name="T16" fmla="*/ 176 w 396"/>
                <a:gd name="T17" fmla="*/ 120 h 271"/>
                <a:gd name="T18" fmla="*/ 132 w 396"/>
                <a:gd name="T19" fmla="*/ 90 h 271"/>
                <a:gd name="T20" fmla="*/ 132 w 396"/>
                <a:gd name="T21" fmla="*/ 90 h 271"/>
                <a:gd name="T22" fmla="*/ 88 w 396"/>
                <a:gd name="T23" fmla="*/ 60 h 271"/>
                <a:gd name="T24" fmla="*/ 44 w 396"/>
                <a:gd name="T25" fmla="*/ 30 h 271"/>
                <a:gd name="T26" fmla="*/ 44 w 396"/>
                <a:gd name="T27" fmla="*/ 30 h 271"/>
                <a:gd name="T28" fmla="*/ 0 w 396"/>
                <a:gd name="T29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6" h="271">
                  <a:moveTo>
                    <a:pt x="396" y="271"/>
                  </a:moveTo>
                  <a:lnTo>
                    <a:pt x="396" y="271"/>
                  </a:lnTo>
                  <a:lnTo>
                    <a:pt x="352" y="241"/>
                  </a:lnTo>
                  <a:moveTo>
                    <a:pt x="308" y="211"/>
                  </a:moveTo>
                  <a:lnTo>
                    <a:pt x="308" y="211"/>
                  </a:lnTo>
                  <a:lnTo>
                    <a:pt x="264" y="181"/>
                  </a:lnTo>
                  <a:moveTo>
                    <a:pt x="220" y="151"/>
                  </a:moveTo>
                  <a:lnTo>
                    <a:pt x="220" y="151"/>
                  </a:lnTo>
                  <a:lnTo>
                    <a:pt x="176" y="120"/>
                  </a:lnTo>
                  <a:moveTo>
                    <a:pt x="132" y="90"/>
                  </a:moveTo>
                  <a:lnTo>
                    <a:pt x="132" y="90"/>
                  </a:lnTo>
                  <a:lnTo>
                    <a:pt x="88" y="60"/>
                  </a:lnTo>
                  <a:moveTo>
                    <a:pt x="44" y="30"/>
                  </a:moveTo>
                  <a:lnTo>
                    <a:pt x="44" y="30"/>
                  </a:lnTo>
                  <a:lnTo>
                    <a:pt x="0" y="0"/>
                  </a:lnTo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800"/>
            </a:p>
          </p:txBody>
        </p:sp>
      </p:grpSp>
      <p:pic>
        <p:nvPicPr>
          <p:cNvPr id="100" name="Picture 9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316" y="4708835"/>
            <a:ext cx="360000" cy="592800"/>
          </a:xfrm>
          <a:prstGeom prst="rect">
            <a:avLst/>
          </a:prstGeom>
        </p:spPr>
      </p:pic>
      <p:cxnSp>
        <p:nvCxnSpPr>
          <p:cNvPr id="101" name="Straight Arrow Connector 100"/>
          <p:cNvCxnSpPr/>
          <p:nvPr/>
        </p:nvCxnSpPr>
        <p:spPr>
          <a:xfrm>
            <a:off x="4431820" y="4400630"/>
            <a:ext cx="0" cy="30820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100" idx="3"/>
            <a:endCxn id="76" idx="17"/>
          </p:cNvCxnSpPr>
          <p:nvPr/>
        </p:nvCxnSpPr>
        <p:spPr>
          <a:xfrm flipV="1">
            <a:off x="4436317" y="4996202"/>
            <a:ext cx="154904" cy="90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" name="Picture 1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364" y="1062149"/>
            <a:ext cx="499134" cy="747067"/>
          </a:xfrm>
          <a:prstGeom prst="rect">
            <a:avLst/>
          </a:prstGeom>
        </p:spPr>
      </p:pic>
      <p:sp>
        <p:nvSpPr>
          <p:cNvPr id="112" name="Rectangle 111"/>
          <p:cNvSpPr/>
          <p:nvPr/>
        </p:nvSpPr>
        <p:spPr>
          <a:xfrm>
            <a:off x="2029118" y="3937660"/>
            <a:ext cx="4860000" cy="360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/>
              <a:t>Virtual Machine Interpreter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2029118" y="3479188"/>
            <a:ext cx="2340000" cy="360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800" dirty="0"/>
              <a:t>Bytecode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2029118" y="2562244"/>
            <a:ext cx="2340000" cy="360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800" dirty="0"/>
              <a:t>Source Code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2029118" y="2025601"/>
            <a:ext cx="2340000" cy="360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800" dirty="0"/>
              <a:t>Specification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2029118" y="3020716"/>
            <a:ext cx="4860000" cy="360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/>
              <a:t>Compiler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4535487" y="2562244"/>
            <a:ext cx="23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/>
              <a:t>Source Language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4546043" y="3479188"/>
            <a:ext cx="23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/>
              <a:t>Bytecode Language</a:t>
            </a: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628" y="4784980"/>
            <a:ext cx="360000" cy="592800"/>
          </a:xfrm>
          <a:prstGeom prst="rect">
            <a:avLst/>
          </a:prstGeom>
        </p:spPr>
      </p:pic>
      <p:cxnSp>
        <p:nvCxnSpPr>
          <p:cNvPr id="132" name="Straight Connector 131"/>
          <p:cNvCxnSpPr/>
          <p:nvPr/>
        </p:nvCxnSpPr>
        <p:spPr>
          <a:xfrm flipV="1">
            <a:off x="5170328" y="4937567"/>
            <a:ext cx="157185" cy="52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/>
        </p:nvSpPr>
        <p:spPr>
          <a:xfrm>
            <a:off x="4535487" y="2025601"/>
            <a:ext cx="23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800" dirty="0"/>
              <a:t>Specification Language</a:t>
            </a:r>
          </a:p>
        </p:txBody>
      </p:sp>
      <p:cxnSp>
        <p:nvCxnSpPr>
          <p:cNvPr id="135" name="Straight Arrow Connector 134"/>
          <p:cNvCxnSpPr/>
          <p:nvPr/>
        </p:nvCxnSpPr>
        <p:spPr>
          <a:xfrm>
            <a:off x="4431820" y="1633364"/>
            <a:ext cx="0" cy="30820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/>
          <p:cNvSpPr/>
          <p:nvPr/>
        </p:nvSpPr>
        <p:spPr>
          <a:xfrm>
            <a:off x="1942678" y="3433564"/>
            <a:ext cx="5064894" cy="44402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138" name="Rectangle 137"/>
          <p:cNvSpPr/>
          <p:nvPr/>
        </p:nvSpPr>
        <p:spPr>
          <a:xfrm>
            <a:off x="1942678" y="2519993"/>
            <a:ext cx="5064894" cy="44402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cxnSp>
        <p:nvCxnSpPr>
          <p:cNvPr id="140" name="Curved Connector 139"/>
          <p:cNvCxnSpPr>
            <a:stCxn id="136" idx="1"/>
            <a:endCxn id="15" idx="1"/>
          </p:cNvCxnSpPr>
          <p:nvPr/>
        </p:nvCxnSpPr>
        <p:spPr>
          <a:xfrm rot="10800000" flipH="1" flipV="1">
            <a:off x="1942677" y="3655577"/>
            <a:ext cx="1069725" cy="1339065"/>
          </a:xfrm>
          <a:prstGeom prst="curvedConnector3">
            <a:avLst>
              <a:gd name="adj1" fmla="val -21370"/>
            </a:avLst>
          </a:prstGeom>
          <a:ln>
            <a:solidFill>
              <a:srgbClr val="C00000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/>
          <p:nvPr/>
        </p:nvSpPr>
        <p:spPr>
          <a:xfrm>
            <a:off x="113385" y="3590622"/>
            <a:ext cx="15471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>
                <a:solidFill>
                  <a:srgbClr val="0070C0"/>
                </a:solidFill>
              </a:rPr>
              <a:t>EVM in HOL</a:t>
            </a:r>
            <a:br>
              <a:rPr lang="en-AU" sz="1400" dirty="0">
                <a:solidFill>
                  <a:srgbClr val="0070C0"/>
                </a:solidFill>
              </a:rPr>
            </a:br>
            <a:r>
              <a:rPr lang="en-AU" sz="1400" i="1" dirty="0">
                <a:solidFill>
                  <a:srgbClr val="0070C0"/>
                </a:solidFill>
              </a:rPr>
              <a:t>Hirai, 2016, 2017</a:t>
            </a:r>
          </a:p>
          <a:p>
            <a:pPr algn="r"/>
            <a:r>
              <a:rPr lang="en-AU" sz="1400" b="1" i="1" dirty="0">
                <a:solidFill>
                  <a:srgbClr val="0070C0"/>
                </a:solidFill>
              </a:rPr>
              <a:t>Amani et al., 2017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7164289" y="2694320"/>
            <a:ext cx="19386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>
                <a:solidFill>
                  <a:srgbClr val="0070C0"/>
                </a:solidFill>
              </a:rPr>
              <a:t>Solidity &amp; EVM via F* </a:t>
            </a:r>
            <a:r>
              <a:rPr lang="en-AU" sz="1400" i="1" dirty="0" err="1">
                <a:solidFill>
                  <a:srgbClr val="0070C0"/>
                </a:solidFill>
              </a:rPr>
              <a:t>Bhargavan</a:t>
            </a:r>
            <a:r>
              <a:rPr lang="en-AU" sz="1400" i="1" dirty="0">
                <a:solidFill>
                  <a:srgbClr val="0070C0"/>
                </a:solidFill>
              </a:rPr>
              <a:t> et al., 2016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6762037" y="1341168"/>
            <a:ext cx="23409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>
                <a:solidFill>
                  <a:srgbClr val="0070C0"/>
                </a:solidFill>
              </a:rPr>
              <a:t>Idris type safety </a:t>
            </a:r>
            <a:br>
              <a:rPr lang="en-AU" sz="1400" dirty="0">
                <a:solidFill>
                  <a:srgbClr val="0070C0"/>
                </a:solidFill>
              </a:rPr>
            </a:br>
            <a:r>
              <a:rPr lang="en-AU" sz="1400" i="1" dirty="0" err="1">
                <a:solidFill>
                  <a:srgbClr val="0070C0"/>
                </a:solidFill>
              </a:rPr>
              <a:t>Pettersson</a:t>
            </a:r>
            <a:r>
              <a:rPr lang="en-AU" sz="1400" i="1" dirty="0">
                <a:solidFill>
                  <a:srgbClr val="0070C0"/>
                </a:solidFill>
              </a:rPr>
              <a:t> &amp; </a:t>
            </a:r>
            <a:r>
              <a:rPr lang="en-AU" sz="1400" i="1" dirty="0" err="1">
                <a:solidFill>
                  <a:srgbClr val="0070C0"/>
                </a:solidFill>
              </a:rPr>
              <a:t>Edström</a:t>
            </a:r>
            <a:r>
              <a:rPr lang="en-AU" sz="1400" i="1" dirty="0">
                <a:solidFill>
                  <a:srgbClr val="0070C0"/>
                </a:solidFill>
              </a:rPr>
              <a:t>, 2016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7164288" y="3721596"/>
            <a:ext cx="19449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 err="1">
                <a:solidFill>
                  <a:srgbClr val="0070C0"/>
                </a:solidFill>
              </a:rPr>
              <a:t>Imandra</a:t>
            </a:r>
            <a:r>
              <a:rPr lang="en-AU" sz="1400" dirty="0">
                <a:solidFill>
                  <a:srgbClr val="0070C0"/>
                </a:solidFill>
              </a:rPr>
              <a:t> &amp; EVM</a:t>
            </a:r>
            <a:br>
              <a:rPr lang="en-AU" sz="1400" dirty="0">
                <a:solidFill>
                  <a:srgbClr val="0070C0"/>
                </a:solidFill>
              </a:rPr>
            </a:br>
            <a:r>
              <a:rPr lang="en-AU" sz="1400" i="1" dirty="0" err="1">
                <a:solidFill>
                  <a:srgbClr val="0070C0"/>
                </a:solidFill>
              </a:rPr>
              <a:t>Ignatovich</a:t>
            </a:r>
            <a:r>
              <a:rPr lang="en-AU" sz="1400" i="1" dirty="0">
                <a:solidFill>
                  <a:srgbClr val="0070C0"/>
                </a:solidFill>
              </a:rPr>
              <a:t> &amp; Passmore, 2015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7758302" y="1945363"/>
            <a:ext cx="13450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>
                <a:solidFill>
                  <a:srgbClr val="0070C0"/>
                </a:solidFill>
              </a:rPr>
              <a:t>Pact type safety </a:t>
            </a:r>
            <a:br>
              <a:rPr lang="en-AU" sz="1400" dirty="0">
                <a:solidFill>
                  <a:srgbClr val="0070C0"/>
                </a:solidFill>
              </a:rPr>
            </a:br>
            <a:r>
              <a:rPr lang="en-AU" sz="1400" i="1" dirty="0" err="1">
                <a:solidFill>
                  <a:srgbClr val="0070C0"/>
                </a:solidFill>
              </a:rPr>
              <a:t>Popejoy</a:t>
            </a:r>
            <a:r>
              <a:rPr lang="en-AU" sz="1400" i="1" dirty="0">
                <a:solidFill>
                  <a:srgbClr val="0070C0"/>
                </a:solidFill>
              </a:rPr>
              <a:t>, 2016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7164288" y="3198376"/>
            <a:ext cx="1944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>
                <a:solidFill>
                  <a:srgbClr val="0070C0"/>
                </a:solidFill>
              </a:rPr>
              <a:t>EVM symbolic execution</a:t>
            </a:r>
            <a:br>
              <a:rPr lang="en-AU" sz="1400" dirty="0">
                <a:solidFill>
                  <a:srgbClr val="0070C0"/>
                </a:solidFill>
              </a:rPr>
            </a:br>
            <a:r>
              <a:rPr lang="en-AU" sz="1400" i="1" dirty="0" err="1">
                <a:solidFill>
                  <a:srgbClr val="0070C0"/>
                </a:solidFill>
              </a:rPr>
              <a:t>Luu</a:t>
            </a:r>
            <a:r>
              <a:rPr lang="en-AU" sz="1400" i="1" dirty="0">
                <a:solidFill>
                  <a:srgbClr val="0070C0"/>
                </a:solidFill>
              </a:rPr>
              <a:t> et al., 2016</a:t>
            </a:r>
          </a:p>
        </p:txBody>
      </p:sp>
      <p:cxnSp>
        <p:nvCxnSpPr>
          <p:cNvPr id="148" name="Curved Connector 147"/>
          <p:cNvCxnSpPr>
            <a:stCxn id="138" idx="3"/>
            <a:endCxn id="136" idx="3"/>
          </p:cNvCxnSpPr>
          <p:nvPr/>
        </p:nvCxnSpPr>
        <p:spPr>
          <a:xfrm>
            <a:off x="7007573" y="2742008"/>
            <a:ext cx="12700" cy="913570"/>
          </a:xfrm>
          <a:prstGeom prst="curvedConnector3">
            <a:avLst>
              <a:gd name="adj1" fmla="val 1800000"/>
            </a:avLst>
          </a:prstGeom>
          <a:ln>
            <a:solidFill>
              <a:srgbClr val="C00000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>
            <a:stCxn id="141" idx="2"/>
          </p:cNvCxnSpPr>
          <p:nvPr/>
        </p:nvCxnSpPr>
        <p:spPr>
          <a:xfrm>
            <a:off x="886956" y="4329286"/>
            <a:ext cx="845578" cy="2560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 flipH="1" flipV="1">
            <a:off x="7227081" y="3198376"/>
            <a:ext cx="297248" cy="19164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 flipH="1">
            <a:off x="7227212" y="2857501"/>
            <a:ext cx="225108" cy="10652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7138727" y="3505572"/>
            <a:ext cx="313594" cy="333616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/>
          <p:cNvCxnSpPr>
            <a:stCxn id="143" idx="2"/>
          </p:cNvCxnSpPr>
          <p:nvPr/>
        </p:nvCxnSpPr>
        <p:spPr>
          <a:xfrm flipH="1">
            <a:off x="7015025" y="1864388"/>
            <a:ext cx="917468" cy="655606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/>
          <p:cNvCxnSpPr>
            <a:stCxn id="146" idx="1"/>
          </p:cNvCxnSpPr>
          <p:nvPr/>
        </p:nvCxnSpPr>
        <p:spPr>
          <a:xfrm flipH="1">
            <a:off x="7015022" y="2206973"/>
            <a:ext cx="743280" cy="387885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187"/>
          <p:cNvSpPr/>
          <p:nvPr/>
        </p:nvSpPr>
        <p:spPr>
          <a:xfrm>
            <a:off x="1950128" y="1981426"/>
            <a:ext cx="5064894" cy="44402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189" name="TextBox 188"/>
          <p:cNvSpPr txBox="1"/>
          <p:nvPr/>
        </p:nvSpPr>
        <p:spPr>
          <a:xfrm>
            <a:off x="-6120" y="1903393"/>
            <a:ext cx="176458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sz="1400" dirty="0">
                <a:solidFill>
                  <a:srgbClr val="0070C0"/>
                </a:solidFill>
              </a:rPr>
              <a:t>Logic-based smart contracts</a:t>
            </a:r>
            <a:br>
              <a:rPr lang="en-AU" sz="1400" dirty="0">
                <a:solidFill>
                  <a:srgbClr val="0070C0"/>
                </a:solidFill>
              </a:rPr>
            </a:br>
            <a:r>
              <a:rPr lang="en-AU" sz="1400" b="1" i="1" dirty="0" err="1">
                <a:solidFill>
                  <a:srgbClr val="0070C0"/>
                </a:solidFill>
              </a:rPr>
              <a:t>Idelberger</a:t>
            </a:r>
            <a:r>
              <a:rPr lang="en-AU" sz="1400" b="1" i="1" dirty="0">
                <a:solidFill>
                  <a:srgbClr val="0070C0"/>
                </a:solidFill>
              </a:rPr>
              <a:t> et al., 2016</a:t>
            </a:r>
          </a:p>
          <a:p>
            <a:pPr algn="r"/>
            <a:r>
              <a:rPr lang="en-AU" sz="1400" i="1" dirty="0">
                <a:solidFill>
                  <a:srgbClr val="0070C0"/>
                </a:solidFill>
              </a:rPr>
              <a:t>Al Khalil et al., 2017</a:t>
            </a:r>
          </a:p>
          <a:p>
            <a:pPr algn="r"/>
            <a:r>
              <a:rPr lang="en-AU" sz="1400" b="1" i="1" dirty="0">
                <a:solidFill>
                  <a:srgbClr val="0070C0"/>
                </a:solidFill>
              </a:rPr>
              <a:t>Governatori et al., 2018</a:t>
            </a:r>
          </a:p>
        </p:txBody>
      </p:sp>
      <p:cxnSp>
        <p:nvCxnSpPr>
          <p:cNvPr id="196" name="Straight Arrow Connector 195"/>
          <p:cNvCxnSpPr>
            <a:stCxn id="189" idx="3"/>
          </p:cNvCxnSpPr>
          <p:nvPr/>
        </p:nvCxnSpPr>
        <p:spPr>
          <a:xfrm flipV="1">
            <a:off x="1758462" y="2353409"/>
            <a:ext cx="197784" cy="350203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0" name="Picture 199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6" y="4441677"/>
            <a:ext cx="2492372" cy="78582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01" name="TextBox 200"/>
          <p:cNvSpPr txBox="1"/>
          <p:nvPr/>
        </p:nvSpPr>
        <p:spPr>
          <a:xfrm>
            <a:off x="179512" y="4628084"/>
            <a:ext cx="23901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 dirty="0">
                <a:solidFill>
                  <a:srgbClr val="00B050"/>
                </a:solidFill>
              </a:rPr>
              <a:t>Determinism, Immutability,</a:t>
            </a:r>
            <a:br>
              <a:rPr lang="en-AU" sz="1200" b="1" dirty="0">
                <a:solidFill>
                  <a:srgbClr val="00B050"/>
                </a:solidFill>
              </a:rPr>
            </a:br>
            <a:r>
              <a:rPr lang="en-AU" sz="1200" b="1" dirty="0">
                <a:solidFill>
                  <a:srgbClr val="00B050"/>
                </a:solidFill>
              </a:rPr>
              <a:t>Cross-checking &amp; Social Consensus</a:t>
            </a:r>
          </a:p>
        </p:txBody>
      </p:sp>
      <p:cxnSp>
        <p:nvCxnSpPr>
          <p:cNvPr id="228" name="Curved Connector 227"/>
          <p:cNvCxnSpPr>
            <a:stCxn id="16" idx="1"/>
            <a:endCxn id="188" idx="1"/>
          </p:cNvCxnSpPr>
          <p:nvPr/>
        </p:nvCxnSpPr>
        <p:spPr>
          <a:xfrm rot="10800000" flipH="1" flipV="1">
            <a:off x="1942678" y="1484964"/>
            <a:ext cx="7450" cy="718475"/>
          </a:xfrm>
          <a:prstGeom prst="curvedConnector3">
            <a:avLst>
              <a:gd name="adj1" fmla="val -3068456"/>
            </a:avLst>
          </a:prstGeom>
          <a:ln>
            <a:solidFill>
              <a:srgbClr val="C00000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8" name="Picture 217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24" y="1224762"/>
            <a:ext cx="911220" cy="63674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9" name="TextBox 218"/>
          <p:cNvSpPr txBox="1"/>
          <p:nvPr/>
        </p:nvSpPr>
        <p:spPr>
          <a:xfrm>
            <a:off x="1226681" y="1360111"/>
            <a:ext cx="2792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600" b="1" dirty="0">
                <a:solidFill>
                  <a:srgbClr val="00B05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722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/>
              <a:t>Secur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FFF7CBAA-22EA-41CE-9725-C57ED0CEBC27}" type="slidenum">
              <a:rPr lang="en-AU" smtClean="0"/>
              <a:pPr/>
              <a:t>22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148031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ISO/IEC 25010:2011 – Security Characteristic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48000" y="1224038"/>
            <a:ext cx="6732312" cy="4081781"/>
          </a:xfrm>
        </p:spPr>
        <p:txBody>
          <a:bodyPr>
            <a:normAutofit fontScale="85000" lnSpcReduction="10000"/>
          </a:bodyPr>
          <a:lstStyle/>
          <a:p>
            <a:r>
              <a:rPr lang="en-AU" dirty="0"/>
              <a:t>Integrity</a:t>
            </a:r>
          </a:p>
          <a:p>
            <a:pPr lvl="1"/>
            <a:r>
              <a:rPr lang="en-AU" sz="1700" dirty="0"/>
              <a:t>degree to which a system, product or component prevents unauthorized access to, or modification of, computer programs or data</a:t>
            </a:r>
          </a:p>
          <a:p>
            <a:r>
              <a:rPr lang="en-AU" dirty="0"/>
              <a:t>Confidentiality</a:t>
            </a:r>
          </a:p>
          <a:p>
            <a:pPr lvl="1"/>
            <a:r>
              <a:rPr lang="en-AU" sz="1700" dirty="0"/>
              <a:t>degree to which a product or system ensures that data are accessible only to those authorized to have access</a:t>
            </a:r>
          </a:p>
          <a:p>
            <a:r>
              <a:rPr lang="en-AU" dirty="0"/>
              <a:t>Non-repudiation</a:t>
            </a:r>
          </a:p>
          <a:p>
            <a:pPr lvl="1"/>
            <a:r>
              <a:rPr lang="en-AU" sz="1700" dirty="0"/>
              <a:t>degree to which actions or events can be proven to have taken place, so that the events or actions cannot be repudiated later</a:t>
            </a:r>
          </a:p>
          <a:p>
            <a:r>
              <a:rPr lang="en-AU" dirty="0"/>
              <a:t>Accountability</a:t>
            </a:r>
          </a:p>
          <a:p>
            <a:pPr lvl="1"/>
            <a:r>
              <a:rPr lang="en-AU" sz="1700" dirty="0"/>
              <a:t>degree to which the actions of an entity can be traced uniquely to the entity</a:t>
            </a:r>
            <a:endParaRPr lang="en-AU" dirty="0"/>
          </a:p>
          <a:p>
            <a:r>
              <a:rPr lang="en-AU" dirty="0"/>
              <a:t>Authenticity</a:t>
            </a:r>
          </a:p>
          <a:p>
            <a:pPr lvl="1"/>
            <a:r>
              <a:rPr lang="en-AU" sz="1700" dirty="0"/>
              <a:t>degree to which the identity of a subject or resource can be proved to be the one claimed</a:t>
            </a:r>
          </a:p>
          <a:p>
            <a:pPr marL="0" indent="0">
              <a:buNone/>
            </a:pPr>
            <a:r>
              <a:rPr lang="en-US" dirty="0"/>
              <a:t>(Privacy is controlling access to yourself; and not just information)</a:t>
            </a:r>
          </a:p>
          <a:p>
            <a:pPr marL="0" indent="0">
              <a:buNone/>
            </a:pPr>
            <a:r>
              <a:rPr lang="en-AU" dirty="0"/>
              <a:t>(ISO/IEC 5010:2011 treats Availability as a “Reliability” characteristic)</a:t>
            </a:r>
          </a:p>
          <a:p>
            <a:endParaRPr lang="en-AU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3F6F60-35FC-4ABD-8DF1-D759648D5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3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7380312" y="1329480"/>
            <a:ext cx="1560667" cy="6224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Only good writes &amp; deletes</a:t>
            </a:r>
          </a:p>
        </p:txBody>
      </p:sp>
      <p:sp>
        <p:nvSpPr>
          <p:cNvPr id="7" name="Rectangle 6"/>
          <p:cNvSpPr/>
          <p:nvPr/>
        </p:nvSpPr>
        <p:spPr>
          <a:xfrm>
            <a:off x="7380312" y="2097499"/>
            <a:ext cx="1560667" cy="6224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Only good reads</a:t>
            </a:r>
          </a:p>
        </p:txBody>
      </p:sp>
      <p:sp>
        <p:nvSpPr>
          <p:cNvPr id="8" name="Rectangle 7"/>
          <p:cNvSpPr/>
          <p:nvPr/>
        </p:nvSpPr>
        <p:spPr>
          <a:xfrm>
            <a:off x="7380312" y="2865519"/>
            <a:ext cx="1560667" cy="47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Undeniable</a:t>
            </a:r>
          </a:p>
        </p:txBody>
      </p:sp>
      <p:sp>
        <p:nvSpPr>
          <p:cNvPr id="9" name="Rectangle 8"/>
          <p:cNvSpPr/>
          <p:nvPr/>
        </p:nvSpPr>
        <p:spPr>
          <a:xfrm>
            <a:off x="7380312" y="3487437"/>
            <a:ext cx="1560667" cy="47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You did it!</a:t>
            </a:r>
          </a:p>
        </p:txBody>
      </p:sp>
      <p:sp>
        <p:nvSpPr>
          <p:cNvPr id="10" name="Rectangle 9"/>
          <p:cNvSpPr/>
          <p:nvPr/>
        </p:nvSpPr>
        <p:spPr>
          <a:xfrm>
            <a:off x="7380312" y="4109357"/>
            <a:ext cx="1560667" cy="47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dirty="0"/>
              <a:t>Not fake</a:t>
            </a:r>
          </a:p>
        </p:txBody>
      </p:sp>
    </p:spTree>
    <p:extLst>
      <p:ext uri="{BB962C8B-B14F-4D97-AF65-F5344CB8AC3E}">
        <p14:creationId xmlns:p14="http://schemas.microsoft.com/office/powerpoint/2010/main" val="12681915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gr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AU" dirty="0"/>
              <a:t>ISO/IEC 25010:2011: “degree to which a system, product or component prevents unauthorized access to, or modification of, computer programs or data”</a:t>
            </a:r>
          </a:p>
          <a:p>
            <a:pPr lvl="1"/>
            <a:endParaRPr lang="en-AU" dirty="0"/>
          </a:p>
          <a:p>
            <a:r>
              <a:rPr lang="en-AU" dirty="0"/>
              <a:t>Clark-Wilson policy model is classic model of integrity</a:t>
            </a:r>
          </a:p>
          <a:p>
            <a:pPr lvl="1"/>
            <a:r>
              <a:rPr lang="en-AU" dirty="0"/>
              <a:t>Based on double-entry bookkeeping</a:t>
            </a:r>
          </a:p>
          <a:p>
            <a:pPr lvl="1"/>
            <a:endParaRPr lang="en-AU" dirty="0"/>
          </a:p>
          <a:p>
            <a:r>
              <a:rPr lang="en-AU" dirty="0"/>
              <a:t>Start with a well-formed initial state</a:t>
            </a:r>
          </a:p>
          <a:p>
            <a:r>
              <a:rPr lang="en-AU" dirty="0"/>
              <a:t>“Transformation Procedures”</a:t>
            </a:r>
            <a:br>
              <a:rPr lang="en-AU" dirty="0"/>
            </a:br>
            <a:r>
              <a:rPr lang="en-AU" dirty="0"/>
              <a:t>preserve state well-formedness</a:t>
            </a:r>
          </a:p>
          <a:p>
            <a:pPr lvl="1"/>
            <a:r>
              <a:rPr lang="en-AU" dirty="0"/>
              <a:t>“Integrity Validation Procedures” check conditions</a:t>
            </a:r>
            <a:br>
              <a:rPr lang="en-AU" dirty="0"/>
            </a:br>
            <a:r>
              <a:rPr lang="en-AU" dirty="0"/>
              <a:t>for “Constrained Data Items”</a:t>
            </a:r>
          </a:p>
          <a:p>
            <a:r>
              <a:rPr lang="en-AU" dirty="0"/>
              <a:t>Only authenticated &amp; authorised users can</a:t>
            </a:r>
            <a:br>
              <a:rPr lang="en-AU" dirty="0"/>
            </a:br>
            <a:r>
              <a:rPr lang="en-AU" dirty="0"/>
              <a:t>make changes</a:t>
            </a:r>
          </a:p>
          <a:p>
            <a:pPr lvl="1"/>
            <a:r>
              <a:rPr lang="en-AU" dirty="0"/>
              <a:t>Also ensure appropriate “separation of duty”</a:t>
            </a:r>
          </a:p>
          <a:p>
            <a:r>
              <a:rPr lang="en-AU" dirty="0"/>
              <a:t>Audit logs, controls on admin changes</a:t>
            </a:r>
          </a:p>
          <a:p>
            <a:pPr marL="0" indent="0">
              <a:buNone/>
            </a:pPr>
            <a:endParaRPr lang="en-AU" dirty="0"/>
          </a:p>
          <a:p>
            <a:pPr marL="0" indent="0">
              <a:buNone/>
            </a:pPr>
            <a:r>
              <a:rPr lang="en-AU" sz="1000" dirty="0"/>
              <a:t>“A Comparison of Commercial and Military Computer Security Policies”</a:t>
            </a:r>
            <a:endParaRPr lang="en-AU" sz="1000" dirty="0">
              <a:hlinkClick r:id="" action="ppaction://noaction"/>
            </a:endParaRPr>
          </a:p>
          <a:p>
            <a:pPr marL="0" indent="0">
              <a:buNone/>
            </a:pPr>
            <a:r>
              <a:rPr lang="en-AU" sz="1000" dirty="0">
                <a:hlinkClick r:id="" action="ppaction://noaction"/>
              </a:rPr>
              <a:t>https</a:t>
            </a:r>
            <a:r>
              <a:rPr lang="en-AU" sz="1000" dirty="0">
                <a:hlinkClick r:id="rId3"/>
              </a:rPr>
              <a:t>://groups.csail.mit.edu/ana/Publications/PubPDFs/A%20Comparison%20of%20Commercial%20and%20Military%20Computer%20Security%20Policies.pdf</a:t>
            </a:r>
            <a:endParaRPr lang="en-AU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DF7BC69-92F6-471F-85E5-D3BF9A399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4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66219" y="1794423"/>
            <a:ext cx="4477781" cy="3107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63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Integrity for Blockchain Platform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AU" dirty="0"/>
              <a:t>Clark-Wilson perspective on blockchain integrity</a:t>
            </a:r>
          </a:p>
          <a:p>
            <a:pPr lvl="1"/>
            <a:r>
              <a:rPr lang="en-AU" dirty="0"/>
              <a:t>Blockchain ledger is the system state and the audit log</a:t>
            </a:r>
          </a:p>
          <a:p>
            <a:pPr lvl="2"/>
            <a:r>
              <a:rPr lang="en-AU" sz="1800" dirty="0"/>
              <a:t>Blocks and their transactions are the “Constrained Data Items”</a:t>
            </a:r>
          </a:p>
          <a:p>
            <a:pPr lvl="1"/>
            <a:r>
              <a:rPr lang="en-AU" dirty="0"/>
              <a:t>Initial state: genesis block is well-formed &amp; cross-checked by all miners</a:t>
            </a:r>
          </a:p>
          <a:p>
            <a:pPr lvl="1"/>
            <a:r>
              <a:rPr lang="en-AU" dirty="0"/>
              <a:t>Mining and cross-checking other miners’ blocks is the “Transformation Procedure”</a:t>
            </a:r>
          </a:p>
          <a:p>
            <a:pPr lvl="1"/>
            <a:r>
              <a:rPr lang="en-AU" dirty="0"/>
              <a:t>Miners’ block validation checks are the “Integrity Validation Procedure”</a:t>
            </a:r>
          </a:p>
          <a:p>
            <a:pPr lvl="1"/>
            <a:r>
              <a:rPr lang="en-AU" dirty="0"/>
              <a:t>Authorisation is checked using signatures from public-key cryptography</a:t>
            </a:r>
          </a:p>
          <a:p>
            <a:pPr lvl="1"/>
            <a:r>
              <a:rPr lang="en-AU" dirty="0"/>
              <a:t>No authentication on public blockchains!  Often important on private blockchains</a:t>
            </a:r>
          </a:p>
          <a:p>
            <a:pPr lvl="1"/>
            <a:r>
              <a:rPr lang="en-AU" dirty="0"/>
              <a:t>No separation of duty enforced?</a:t>
            </a:r>
          </a:p>
          <a:p>
            <a:pPr lvl="1"/>
            <a:r>
              <a:rPr lang="en-AU" dirty="0"/>
              <a:t>“Admin changes” are by the mining collective, e.g. hard forks</a:t>
            </a:r>
          </a:p>
          <a:p>
            <a:pPr lvl="1"/>
            <a:endParaRPr lang="en-AU" dirty="0"/>
          </a:p>
          <a:p>
            <a:r>
              <a:rPr lang="en-AU" dirty="0"/>
              <a:t>Example integrity conditions</a:t>
            </a:r>
          </a:p>
          <a:p>
            <a:pPr lvl="1"/>
            <a:r>
              <a:rPr lang="en-AU" dirty="0"/>
              <a:t>Were transactions against an account address signed by corresponding private key?</a:t>
            </a:r>
          </a:p>
          <a:p>
            <a:pPr lvl="1"/>
            <a:r>
              <a:rPr lang="en-AU" dirty="0"/>
              <a:t>Does the sending address/account have enough cryptocurrency?</a:t>
            </a:r>
          </a:p>
          <a:p>
            <a:pPr lvl="2"/>
            <a:r>
              <a:rPr lang="en-AU" sz="1800" dirty="0"/>
              <a:t>Some platforms support other crypto-assets with different integrity conditions</a:t>
            </a:r>
          </a:p>
          <a:p>
            <a:pPr lvl="1"/>
            <a:r>
              <a:rPr lang="en-AU" dirty="0"/>
              <a:t>Did a miner give themselves the right mining reward?</a:t>
            </a:r>
          </a:p>
          <a:p>
            <a:pPr lvl="1"/>
            <a:r>
              <a:rPr lang="en-AU" dirty="0"/>
              <a:t>Did the execution recorded for a smart contract have the same result I get?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4480FAB-CC1D-4BAD-8760-2466FF317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903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“Blockchain anomaly”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4932226" cy="3626115"/>
          </a:xfrm>
        </p:spPr>
        <p:txBody>
          <a:bodyPr>
            <a:normAutofit fontScale="70000" lnSpcReduction="20000"/>
          </a:bodyPr>
          <a:lstStyle/>
          <a:p>
            <a:r>
              <a:rPr lang="en-AU" dirty="0"/>
              <a:t>Blockchain transactions are in a strict order, and are immutable… or are they?</a:t>
            </a:r>
          </a:p>
          <a:p>
            <a:r>
              <a:rPr lang="en-AU" dirty="0" err="1"/>
              <a:t>Nakamoto</a:t>
            </a:r>
            <a:r>
              <a:rPr lang="en-AU" dirty="0"/>
              <a:t> consensus can give us alternative/ replacement histories</a:t>
            </a:r>
          </a:p>
          <a:p>
            <a:pPr marL="177800" indent="177800">
              <a:buFont typeface="+mj-lt"/>
              <a:buAutoNum type="arabicPeriod"/>
            </a:pPr>
            <a:r>
              <a:rPr lang="en-AU" dirty="0"/>
              <a:t>C</a:t>
            </a:r>
            <a:r>
              <a:rPr lang="en-AU" baseline="-25000" dirty="0"/>
              <a:t>1</a:t>
            </a:r>
            <a:r>
              <a:rPr lang="en-AU" dirty="0"/>
              <a:t> issue a transaction </a:t>
            </a:r>
            <a:r>
              <a:rPr lang="en-AU" dirty="0" err="1"/>
              <a:t>t</a:t>
            </a:r>
            <a:r>
              <a:rPr lang="en-AU" baseline="-25000" dirty="0" err="1"/>
              <a:t>i</a:t>
            </a:r>
            <a:endParaRPr lang="en-AU" baseline="-25000" dirty="0"/>
          </a:p>
          <a:p>
            <a:pPr marL="177800" indent="177800">
              <a:buFont typeface="+mj-lt"/>
              <a:buAutoNum type="arabicPeriod"/>
            </a:pPr>
            <a:r>
              <a:rPr lang="en-AU" dirty="0"/>
              <a:t>C</a:t>
            </a:r>
            <a:r>
              <a:rPr lang="en-AU" baseline="-25000" dirty="0"/>
              <a:t>2</a:t>
            </a:r>
            <a:r>
              <a:rPr lang="en-AU" dirty="0"/>
              <a:t> sees </a:t>
            </a:r>
            <a:r>
              <a:rPr lang="en-AU" dirty="0" err="1"/>
              <a:t>t</a:t>
            </a:r>
            <a:r>
              <a:rPr lang="en-AU" baseline="-25000" dirty="0" err="1"/>
              <a:t>i</a:t>
            </a:r>
            <a:r>
              <a:rPr lang="en-AU" baseline="-25000" dirty="0"/>
              <a:t> </a:t>
            </a:r>
            <a:r>
              <a:rPr lang="en-AU" dirty="0"/>
              <a:t>as committed</a:t>
            </a:r>
          </a:p>
          <a:p>
            <a:pPr marL="177800" indent="177800">
              <a:buFont typeface="+mj-lt"/>
              <a:buAutoNum type="arabicPeriod"/>
            </a:pPr>
            <a:r>
              <a:rPr lang="en-AU" dirty="0"/>
              <a:t>C</a:t>
            </a:r>
            <a:r>
              <a:rPr lang="en-AU" baseline="-25000" dirty="0"/>
              <a:t>2</a:t>
            </a:r>
            <a:r>
              <a:rPr lang="en-AU" dirty="0"/>
              <a:t> issues a second transaction, </a:t>
            </a:r>
            <a:r>
              <a:rPr lang="en-AU" dirty="0" err="1"/>
              <a:t>t</a:t>
            </a:r>
            <a:r>
              <a:rPr lang="en-AU" baseline="-25000" dirty="0" err="1"/>
              <a:t>j</a:t>
            </a:r>
            <a:endParaRPr lang="en-AU" baseline="-25000" dirty="0"/>
          </a:p>
          <a:p>
            <a:pPr marL="719138" lvl="1" indent="-92075"/>
            <a:r>
              <a:rPr lang="en-AU" dirty="0"/>
              <a:t>On the application level, </a:t>
            </a:r>
            <a:r>
              <a:rPr lang="en-AU" dirty="0" err="1"/>
              <a:t>t</a:t>
            </a:r>
            <a:r>
              <a:rPr lang="en-AU" baseline="-25000" dirty="0" err="1"/>
              <a:t>j</a:t>
            </a:r>
            <a:r>
              <a:rPr lang="en-AU" baseline="-25000" dirty="0"/>
              <a:t> </a:t>
            </a:r>
            <a:r>
              <a:rPr lang="en-AU" dirty="0"/>
              <a:t>depends on </a:t>
            </a:r>
            <a:r>
              <a:rPr lang="en-AU" dirty="0" err="1"/>
              <a:t>t</a:t>
            </a:r>
            <a:r>
              <a:rPr lang="en-AU" baseline="-25000" dirty="0" err="1"/>
              <a:t>i</a:t>
            </a:r>
            <a:endParaRPr lang="en-AU" dirty="0"/>
          </a:p>
          <a:p>
            <a:pPr marL="0" indent="177800">
              <a:buNone/>
            </a:pPr>
            <a:r>
              <a:rPr lang="en-AU" dirty="0">
                <a:sym typeface="Wingdings" panose="05000000000000000000" pitchFamily="2" charset="2"/>
              </a:rPr>
              <a:t> </a:t>
            </a:r>
            <a:r>
              <a:rPr lang="en-AU" dirty="0"/>
              <a:t>Possible anomaly!</a:t>
            </a:r>
          </a:p>
          <a:p>
            <a:pPr marL="0" indent="0">
              <a:buNone/>
            </a:pPr>
            <a:endParaRPr lang="en-AU" dirty="0"/>
          </a:p>
          <a:p>
            <a:pPr marL="0" indent="0">
              <a:buNone/>
            </a:pPr>
            <a:r>
              <a:rPr lang="en-AU" dirty="0"/>
              <a:t>Both need to be independently “valid” from the perspective of a blockchain, but invalid to the application when reordered</a:t>
            </a:r>
          </a:p>
          <a:p>
            <a:pPr marL="0" indent="0">
              <a:buNone/>
            </a:pPr>
            <a:r>
              <a:rPr lang="en-AU" dirty="0"/>
              <a:t>Solutions: wait for more confirmation blocks, try to rely on Ethereum “transaction nonce”, or use a smart contract to enforce/check the ordering</a:t>
            </a:r>
          </a:p>
          <a:p>
            <a:pPr marL="0" indent="0">
              <a:buNone/>
            </a:pPr>
            <a:endParaRPr lang="en-AU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8594959-1E0B-479F-98D4-05A3DD64D6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6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7654" y="1287762"/>
            <a:ext cx="3390067" cy="261046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363586" y="4133618"/>
            <a:ext cx="266413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100" dirty="0"/>
              <a:t>“The Blockchain Anomaly”</a:t>
            </a:r>
            <a:br>
              <a:rPr lang="en-AU" sz="1100" dirty="0"/>
            </a:br>
            <a:r>
              <a:rPr lang="en-AU" sz="1100" dirty="0">
                <a:hlinkClick r:id="rId3"/>
              </a:rPr>
              <a:t>https://arxiv.org/pdf/1605.05438</a:t>
            </a:r>
            <a:r>
              <a:rPr lang="en-AU" sz="11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2316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43345C1-4D37-4A71-AA0D-E28B7FEF8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Task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2273649-C61A-4FD0-934E-A167647613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n you think of a concrete example where this anomaly would be a problem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9D8260-3E52-4FF4-90D9-23D75F93C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7</a:t>
            </a:fld>
            <a:endParaRPr lang="en-US"/>
          </a:p>
        </p:txBody>
      </p:sp>
      <p:pic>
        <p:nvPicPr>
          <p:cNvPr id="7" name="Grafik 6" descr="Chat">
            <a:extLst>
              <a:ext uri="{FF2B5EF4-FFF2-40B4-BE49-F238E27FC236}">
                <a16:creationId xmlns:a16="http://schemas.microsoft.com/office/drawing/2014/main" id="{10FC51EF-6D7D-4CFA-9E9B-A633B5B95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30959" y="329635"/>
            <a:ext cx="685799" cy="685799"/>
          </a:xfrm>
          <a:prstGeom prst="rect">
            <a:avLst/>
          </a:prstGeom>
        </p:spPr>
      </p:pic>
      <p:pic>
        <p:nvPicPr>
          <p:cNvPr id="8" name="Grafik 7" descr="Benutzer">
            <a:extLst>
              <a:ext uri="{FF2B5EF4-FFF2-40B4-BE49-F238E27FC236}">
                <a16:creationId xmlns:a16="http://schemas.microsoft.com/office/drawing/2014/main" id="{C1AD3D69-FEBA-481D-A990-6AB4565D03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54202" y="287999"/>
            <a:ext cx="767955" cy="767955"/>
          </a:xfrm>
          <a:prstGeom prst="rect">
            <a:avLst/>
          </a:prstGeom>
        </p:spPr>
      </p:pic>
      <p:pic>
        <p:nvPicPr>
          <p:cNvPr id="9" name="Grafik 8" descr="Bleistift">
            <a:extLst>
              <a:ext uri="{FF2B5EF4-FFF2-40B4-BE49-F238E27FC236}">
                <a16:creationId xmlns:a16="http://schemas.microsoft.com/office/drawing/2014/main" id="{3CB166A1-F7AB-4F8D-A5BB-3A7DEBCBDA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50744" y="496162"/>
            <a:ext cx="351628" cy="35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6501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48000" y="300698"/>
            <a:ext cx="6631640" cy="648000"/>
          </a:xfrm>
        </p:spPr>
        <p:txBody>
          <a:bodyPr>
            <a:noAutofit/>
          </a:bodyPr>
          <a:lstStyle/>
          <a:p>
            <a:r>
              <a:rPr lang="en-AU" sz="2800" dirty="0"/>
              <a:t>Integrity for Component Services in</a:t>
            </a:r>
            <a:br>
              <a:rPr lang="en-AU" sz="2800" dirty="0"/>
            </a:br>
            <a:r>
              <a:rPr lang="en-AU" sz="2800" dirty="0"/>
              <a:t>Blockchain Applicat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AU" dirty="0"/>
              <a:t>Integrity of Data Storage and Communication</a:t>
            </a:r>
          </a:p>
          <a:p>
            <a:pPr lvl="1"/>
            <a:r>
              <a:rPr lang="en-AU" dirty="0"/>
              <a:t>On-chain data in transactions: “enforce” integrity using off-chain code &amp; conventions</a:t>
            </a:r>
          </a:p>
          <a:p>
            <a:pPr lvl="1"/>
            <a:r>
              <a:rPr lang="en-AU" dirty="0"/>
              <a:t>On-chain data in smart contract variables: enforce integrity using smart contract code</a:t>
            </a:r>
          </a:p>
          <a:p>
            <a:pPr lvl="1"/>
            <a:r>
              <a:rPr lang="en-AU" dirty="0"/>
              <a:t>Off-chain data: enforce integrity by cross-checking data hash with on-chain hash values &amp;</a:t>
            </a:r>
            <a:br>
              <a:rPr lang="en-AU" dirty="0"/>
            </a:br>
            <a:r>
              <a:rPr lang="en-AU" dirty="0"/>
              <a:t>also check authorisation off-chain using the signatures for those transactions</a:t>
            </a:r>
          </a:p>
          <a:p>
            <a:pPr lvl="1"/>
            <a:r>
              <a:rPr lang="en-AU" dirty="0"/>
              <a:t>Off-chain data: enforce integrity by checking data using rules stored on-chain</a:t>
            </a:r>
          </a:p>
          <a:p>
            <a:pPr lvl="1"/>
            <a:endParaRPr lang="en-AU" dirty="0"/>
          </a:p>
          <a:p>
            <a:r>
              <a:rPr lang="en-AU" dirty="0"/>
              <a:t>Integrity of Computation and Asset Management</a:t>
            </a:r>
          </a:p>
          <a:p>
            <a:pPr lvl="1"/>
            <a:r>
              <a:rPr lang="en-AU" dirty="0"/>
              <a:t>On-chain: smart contracts themselves being correct!  Or to cross-check others</a:t>
            </a:r>
          </a:p>
          <a:p>
            <a:pPr lvl="1"/>
            <a:r>
              <a:rPr lang="en-AU" dirty="0"/>
              <a:t>Off-chain: smart contracts cross-check off-chain computation (e.g. “state channel” pattern)</a:t>
            </a:r>
          </a:p>
          <a:p>
            <a:pPr lvl="1"/>
            <a:endParaRPr lang="en-AU" dirty="0"/>
          </a:p>
          <a:p>
            <a:r>
              <a:rPr lang="en-AU" dirty="0"/>
              <a:t>Smart contracts can encode &amp; enforce application-level integrity checks and transformations on-chain – code needs to be correct!</a:t>
            </a:r>
          </a:p>
          <a:p>
            <a:pPr lvl="1"/>
            <a:r>
              <a:rPr lang="en-AU" dirty="0"/>
              <a:t>e.g. were the application-level preconditions true when an API call was made?</a:t>
            </a:r>
          </a:p>
          <a:p>
            <a:pPr lvl="1"/>
            <a:r>
              <a:rPr lang="en-AU" dirty="0"/>
              <a:t>e.g. was the API call made by an authorised party?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60223F7-A795-4B0B-BA30-76E28EB7F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18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fidential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AU" dirty="0"/>
              <a:t>ISO/IEC 25010:2011: “degree to which a product or system ensures that data are accessible only to those authorized to have access”</a:t>
            </a:r>
          </a:p>
          <a:p>
            <a:r>
              <a:rPr lang="en-AU" dirty="0"/>
              <a:t>Blockchain platforms are not good for confidentiality, because all full nodes cross-check contents of all transactions</a:t>
            </a:r>
          </a:p>
          <a:p>
            <a:r>
              <a:rPr lang="en-AU" dirty="0"/>
              <a:t>Not just the plain data, also need to be concerned with re-identification attacks, patterns from transaction analytics, and graph datamining</a:t>
            </a:r>
          </a:p>
          <a:p>
            <a:pPr lvl="1"/>
            <a:r>
              <a:rPr lang="en-AU" sz="1800" dirty="0"/>
              <a:t>Identity of parties?</a:t>
            </a:r>
          </a:p>
          <a:p>
            <a:pPr lvl="1"/>
            <a:r>
              <a:rPr lang="en-AU" sz="1800" dirty="0"/>
              <a:t>Transaction volume?</a:t>
            </a:r>
          </a:p>
          <a:p>
            <a:pPr lvl="1"/>
            <a:r>
              <a:rPr lang="en-AU" sz="1800" dirty="0"/>
              <a:t>Transaction meta-data?</a:t>
            </a:r>
          </a:p>
          <a:p>
            <a:pPr lvl="2"/>
            <a:r>
              <a:rPr lang="en-AU" sz="1750" dirty="0"/>
              <a:t>e.g. characteristic patterns in time-of-day for transactions, geolocation of source IP addresses of submitted transaction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92B5209-768F-4850-8DCF-D3676F2FB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349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pPr marL="0" indent="0">
              <a:buNone/>
            </a:pPr>
            <a:r>
              <a:rPr lang="en-AU" sz="1200" dirty="0"/>
              <a:t>“Basic concepts and taxonomy of dependable and secure computing”</a:t>
            </a:r>
            <a:br>
              <a:rPr lang="en-AU" sz="1200" dirty="0"/>
            </a:br>
            <a:r>
              <a:rPr lang="en-AU" sz="1200" dirty="0">
                <a:hlinkClick r:id="rId3"/>
              </a:rPr>
              <a:t>https://www.nasa.gov/pdf/636745main_day_3-algirdas_avizienis.pdf</a:t>
            </a:r>
            <a:endParaRPr lang="en-A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ependability and Security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BB3CD89-8DC9-4250-A111-3603F121358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50075" t="14917" r="9775" b="37684"/>
          <a:stretch/>
        </p:blipFill>
        <p:spPr>
          <a:xfrm>
            <a:off x="4778255" y="1130158"/>
            <a:ext cx="4083862" cy="301318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3822" t="14416" r="57005" b="54907"/>
          <a:stretch/>
        </p:blipFill>
        <p:spPr>
          <a:xfrm>
            <a:off x="154741" y="1788786"/>
            <a:ext cx="4169415" cy="204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211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2800" dirty="0"/>
              <a:t>Confidentiality for Blockchain Applications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1791275"/>
              </p:ext>
            </p:extLst>
          </p:nvPr>
        </p:nvGraphicFramePr>
        <p:xfrm>
          <a:off x="647700" y="1295400"/>
          <a:ext cx="7920038" cy="3669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55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344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3600">
                <a:tc>
                  <a:txBody>
                    <a:bodyPr/>
                    <a:lstStyle/>
                    <a:p>
                      <a:r>
                        <a:rPr lang="en-AU" dirty="0"/>
                        <a:t>Might use…</a:t>
                      </a:r>
                    </a:p>
                  </a:txBody>
                  <a:tcPr marL="89450" marR="89450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But…</a:t>
                      </a:r>
                    </a:p>
                  </a:txBody>
                  <a:tcPr marL="89450" marR="8945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600">
                <a:tc>
                  <a:txBody>
                    <a:bodyPr/>
                    <a:lstStyle/>
                    <a:p>
                      <a:pPr marL="0" marR="0" lvl="0" indent="0" algn="l" defTabSz="7619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pseudonymous addresses</a:t>
                      </a:r>
                    </a:p>
                  </a:txBody>
                  <a:tcPr marL="89450" marR="8945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dirty="0"/>
                        <a:t>if addresses are re-used,</a:t>
                      </a:r>
                      <a:r>
                        <a:rPr lang="en-AU" baseline="0" dirty="0"/>
                        <a:t> can start to recover identity information</a:t>
                      </a:r>
                      <a:endParaRPr lang="en-AU" dirty="0"/>
                    </a:p>
                  </a:txBody>
                  <a:tcPr marL="89450" marR="8945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523">
                <a:tc>
                  <a:txBody>
                    <a:bodyPr/>
                    <a:lstStyle/>
                    <a:p>
                      <a:r>
                        <a:rPr lang="en-AU" dirty="0"/>
                        <a:t>private blockchain</a:t>
                      </a:r>
                    </a:p>
                  </a:txBody>
                  <a:tcPr marL="89450" marR="89450"/>
                </a:tc>
                <a:tc>
                  <a:txBody>
                    <a:bodyPr/>
                    <a:lstStyle/>
                    <a:p>
                      <a:pPr marL="285750" marR="0" lvl="0" indent="-285750" algn="l" defTabSz="7619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dirty="0"/>
                        <a:t>check all nodes are authorised to see all the data!</a:t>
                      </a:r>
                    </a:p>
                  </a:txBody>
                  <a:tcPr marL="89450" marR="8945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3030">
                <a:tc>
                  <a:txBody>
                    <a:bodyPr/>
                    <a:lstStyle/>
                    <a:p>
                      <a:pPr marL="0" marR="0" lvl="0" indent="0" algn="l" defTabSz="7619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distributed ledger where ledgers and transactions are shared only with parties of interest  (e.g. Corda, </a:t>
                      </a:r>
                      <a:r>
                        <a:rPr lang="en-AU" dirty="0" err="1"/>
                        <a:t>Hyperledger</a:t>
                      </a:r>
                      <a:r>
                        <a:rPr lang="en-AU" dirty="0"/>
                        <a:t> Fabric)</a:t>
                      </a:r>
                    </a:p>
                  </a:txBody>
                  <a:tcPr marL="89450" marR="8945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dirty="0"/>
                        <a:t>can be harder to ensure property</a:t>
                      </a:r>
                      <a:r>
                        <a:rPr lang="en-AU" baseline="0" dirty="0"/>
                        <a:t> rights for </a:t>
                      </a:r>
                      <a:r>
                        <a:rPr lang="en-AU" dirty="0"/>
                        <a:t>digital assets (“double spending” issues)</a:t>
                      </a:r>
                    </a:p>
                  </a:txBody>
                  <a:tcPr marL="89450" marR="8945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3600">
                <a:tc>
                  <a:txBody>
                    <a:bodyPr/>
                    <a:lstStyle/>
                    <a:p>
                      <a:r>
                        <a:rPr lang="en-AU" dirty="0"/>
                        <a:t>encryption for on-chain confidential data</a:t>
                      </a:r>
                    </a:p>
                  </a:txBody>
                  <a:tcPr marL="89450" marR="8945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dirty="0"/>
                        <a:t>more complex key manag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dirty="0"/>
                        <a:t>key loss reveals all old data to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baseline="0" dirty="0"/>
                        <a:t>quantum? or other breaks to the crypto schemes</a:t>
                      </a:r>
                      <a:endParaRPr lang="en-AU" dirty="0"/>
                    </a:p>
                  </a:txBody>
                  <a:tcPr marL="89450" marR="8945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3315">
                <a:tc>
                  <a:txBody>
                    <a:bodyPr/>
                    <a:lstStyle/>
                    <a:p>
                      <a:pPr marL="0" marR="0" lvl="0" indent="0" algn="l" defTabSz="7619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keep data off-chain, use conventional technology for access control</a:t>
                      </a:r>
                    </a:p>
                  </a:txBody>
                  <a:tcPr marL="89450" marR="8945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dirty="0"/>
                        <a:t>more complex system desig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dirty="0"/>
                        <a:t>less</a:t>
                      </a:r>
                      <a:r>
                        <a:rPr lang="en-AU" baseline="0" dirty="0"/>
                        <a:t> value directly from blockchain for sharing data</a:t>
                      </a:r>
                      <a:endParaRPr lang="en-AU" dirty="0"/>
                    </a:p>
                  </a:txBody>
                  <a:tcPr marL="89450" marR="8945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6402CE7-CB1F-4B92-A0CD-C8EE22E34D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2588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ivac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AU" dirty="0"/>
              <a:t>Similar but different to confidentiality</a:t>
            </a:r>
          </a:p>
          <a:p>
            <a:r>
              <a:rPr lang="en-AU" dirty="0"/>
              <a:t>Privacy is controlling access to yourself; and not just information</a:t>
            </a:r>
          </a:p>
          <a:p>
            <a:pPr lvl="1"/>
            <a:r>
              <a:rPr lang="en-AU" dirty="0"/>
              <a:t>e.g. physical privacy in your house</a:t>
            </a:r>
          </a:p>
          <a:p>
            <a:pPr lvl="1"/>
            <a:r>
              <a:rPr lang="en-AU" dirty="0"/>
              <a:t>1948 Universal Declaration of Human Rights:</a:t>
            </a:r>
            <a:br>
              <a:rPr lang="en-AU" dirty="0"/>
            </a:br>
            <a:r>
              <a:rPr lang="en-AU" i="1" dirty="0"/>
              <a:t>No one shall be subjected to arbitrary interference with his privacy, family, home or correspondence, nor to attacks upon his </a:t>
            </a:r>
            <a:r>
              <a:rPr lang="en-AU" i="1" dirty="0" err="1"/>
              <a:t>honor</a:t>
            </a:r>
            <a:r>
              <a:rPr lang="en-AU" i="1" dirty="0"/>
              <a:t> and reputation. Everyone has the right to the protection of the law against such interference or attacks.</a:t>
            </a:r>
            <a:endParaRPr lang="en-AU" dirty="0"/>
          </a:p>
          <a:p>
            <a:r>
              <a:rPr lang="en-AU" dirty="0"/>
              <a:t>Even for information, privacy has different regulation than confidentiality</a:t>
            </a:r>
          </a:p>
          <a:p>
            <a:pPr lvl="1"/>
            <a:r>
              <a:rPr lang="en-AU" dirty="0"/>
              <a:t>General Data Protection Regulation (GDPR) in Europe</a:t>
            </a:r>
          </a:p>
          <a:p>
            <a:pPr lvl="2"/>
            <a:r>
              <a:rPr lang="en-AU" dirty="0"/>
              <a:t>Including “right to erasure (right to be forgotten)”, but can’t delete on blockchain?</a:t>
            </a:r>
          </a:p>
          <a:p>
            <a:r>
              <a:rPr lang="en-AU" dirty="0"/>
              <a:t>For privacy in blockchain-based applications, use same general approaches as for confidentiality, targeting privacy polici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779E818-A639-4A39-BD8A-5CD7C99761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046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Non-Repudi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AU" dirty="0"/>
              <a:t>ISO/IEC 25010:2011: “degree to which actions or events can be proven to have taken place, so that the events or actions cannot be repudiated later”</a:t>
            </a:r>
          </a:p>
          <a:p>
            <a:r>
              <a:rPr lang="en-AU" dirty="0"/>
              <a:t>Main support is from </a:t>
            </a:r>
            <a:r>
              <a:rPr lang="en-AU" dirty="0" err="1"/>
              <a:t>blockchain’s</a:t>
            </a:r>
            <a:r>
              <a:rPr lang="en-AU" dirty="0"/>
              <a:t> immutable ledger</a:t>
            </a:r>
          </a:p>
          <a:p>
            <a:pPr lvl="1"/>
            <a:r>
              <a:rPr lang="en-AU" sz="1700" dirty="0"/>
              <a:t>But be careful of probabilistic immutability in </a:t>
            </a:r>
            <a:r>
              <a:rPr lang="en-AU" sz="1700" dirty="0" err="1"/>
              <a:t>Nakamoto</a:t>
            </a:r>
            <a:r>
              <a:rPr lang="en-AU" sz="1700" dirty="0"/>
              <a:t> consensus; use the right number of confirmation blocks for your application’s risk profile</a:t>
            </a:r>
          </a:p>
          <a:p>
            <a:r>
              <a:rPr lang="en-AU" dirty="0"/>
              <a:t>Some support from public key signatures for transactions</a:t>
            </a:r>
          </a:p>
          <a:p>
            <a:r>
              <a:rPr lang="en-AU" dirty="0"/>
              <a:t>Just because data is recorded on-chain, doesn’t mean it’s true!</a:t>
            </a:r>
          </a:p>
          <a:p>
            <a:pPr lvl="1"/>
            <a:r>
              <a:rPr lang="en-AU" sz="1700" dirty="0"/>
              <a:t>Someone might have stolen my private key?</a:t>
            </a:r>
          </a:p>
          <a:p>
            <a:pPr lvl="1"/>
            <a:r>
              <a:rPr lang="en-AU" sz="1700" dirty="0"/>
              <a:t>Sender might have fraudulently recorded false data in a transaction</a:t>
            </a:r>
          </a:p>
          <a:p>
            <a:r>
              <a:rPr lang="en-AU" dirty="0"/>
              <a:t>Blockchain only provides non-repudiation that the transaction happened</a:t>
            </a:r>
          </a:p>
          <a:p>
            <a:r>
              <a:rPr lang="en-AU" dirty="0"/>
              <a:t>If using hashes on-chain for off-chain data, need to retain original data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8FA19E4-4152-4D78-BCEB-329C225426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436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ccountabil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AU" dirty="0"/>
              <a:t>ISO/IEC 25010:2011: “degree to which the actions of an entity can be traced uniquely to the entity”</a:t>
            </a:r>
          </a:p>
          <a:p>
            <a:r>
              <a:rPr lang="en-AU" dirty="0"/>
              <a:t>Main support in blockchain platforms is from cryptographically-signed transactions</a:t>
            </a:r>
          </a:p>
          <a:p>
            <a:pPr lvl="1"/>
            <a:r>
              <a:rPr lang="en-AU" dirty="0"/>
              <a:t>Does a single entity control the signing key?  Good key management is critical!</a:t>
            </a:r>
          </a:p>
          <a:p>
            <a:r>
              <a:rPr lang="en-AU" dirty="0"/>
              <a:t>Most public blockchains try to directly stop this</a:t>
            </a:r>
          </a:p>
          <a:p>
            <a:pPr lvl="1"/>
            <a:r>
              <a:rPr lang="en-AU" dirty="0"/>
              <a:t>Pseudonymous IDs are too weak to</a:t>
            </a:r>
          </a:p>
          <a:p>
            <a:pPr lvl="1"/>
            <a:r>
              <a:rPr lang="en-AU" dirty="0"/>
              <a:t>New privacy coins (Zcash, Dash, Monero, …) try to provide anonymity like cash</a:t>
            </a:r>
          </a:p>
          <a:p>
            <a:r>
              <a:rPr lang="en-AU" dirty="0"/>
              <a:t>KYC/AML-CTF</a:t>
            </a:r>
          </a:p>
          <a:p>
            <a:pPr lvl="1"/>
            <a:r>
              <a:rPr lang="en-AU" dirty="0"/>
              <a:t>“Know Your Customer”/ “Anti-Money Laundering, Counter-Terrorism Financing”</a:t>
            </a:r>
          </a:p>
          <a:p>
            <a:pPr lvl="1"/>
            <a:r>
              <a:rPr lang="en-AU" dirty="0"/>
              <a:t>e.g. Australian AUSTRAC regulation requires KYC/AML by crypto-currency exchanges</a:t>
            </a:r>
          </a:p>
          <a:p>
            <a:r>
              <a:rPr lang="en-AU" dirty="0"/>
              <a:t>Private blockchains are normally permissioned, and users’ identities known</a:t>
            </a:r>
          </a:p>
          <a:p>
            <a:r>
              <a:rPr lang="en-AU" dirty="0"/>
              <a:t>Authentication requires off-chain mechanisms to establish identity</a:t>
            </a:r>
          </a:p>
          <a:p>
            <a:r>
              <a:rPr lang="en-AU" dirty="0"/>
              <a:t>Blockchain can be used to communicate or ensure integrity of KYC information</a:t>
            </a:r>
          </a:p>
          <a:p>
            <a:endParaRPr lang="en-AU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EC05CC7-3E43-4062-A787-8F293E3A6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039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uthenticit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dirty="0"/>
              <a:t>ISO/IEC 25010:2011: “degree to which the identity of a subject or resource can be proved to be the one claimed”</a:t>
            </a:r>
          </a:p>
          <a:p>
            <a:r>
              <a:rPr lang="en-AU" dirty="0"/>
              <a:t>Major issue in supply chain, e.g. is this real Australian baby formula?</a:t>
            </a:r>
          </a:p>
          <a:p>
            <a:r>
              <a:rPr lang="en-AU" dirty="0"/>
              <a:t>Many blockchain applications are trying to improve supply chain quality</a:t>
            </a:r>
          </a:p>
          <a:p>
            <a:r>
              <a:rPr lang="en-AU" dirty="0"/>
              <a:t>For physical assets, hard to guarantee, unless a unique physical “fingerprint”</a:t>
            </a:r>
          </a:p>
          <a:p>
            <a:pPr lvl="1"/>
            <a:r>
              <a:rPr lang="en-AU" dirty="0"/>
              <a:t>e.g. diamonds, DNA?</a:t>
            </a:r>
          </a:p>
          <a:p>
            <a:r>
              <a:rPr lang="en-AU" dirty="0"/>
              <a:t>Attacks include fake duplicate labels, substitution in (or reuse of) original packaging</a:t>
            </a:r>
          </a:p>
          <a:p>
            <a:r>
              <a:rPr lang="en-AU" dirty="0"/>
              <a:t>Need a way of comparing blockchain record to the physical item</a:t>
            </a:r>
          </a:p>
          <a:p>
            <a:r>
              <a:rPr lang="en-AU" dirty="0"/>
              <a:t>For digital assets, much easier on blockchain!</a:t>
            </a:r>
          </a:p>
          <a:p>
            <a:pPr lvl="1"/>
            <a:r>
              <a:rPr lang="en-AU" dirty="0"/>
              <a:t>Put authoritative register on blockchain, or have an off-chain authority sign the asset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6B07ACE-FB23-40A7-AF23-806F358A16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725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0">
            <a:extLst>
              <a:ext uri="{FF2B5EF4-FFF2-40B4-BE49-F238E27FC236}">
                <a16:creationId xmlns:a16="http://schemas.microsoft.com/office/drawing/2014/main" id="{15CF5EB8-885B-4B45-8DCA-F03A2CD9F0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AU" sz="3200" dirty="0"/>
              <a:t>Dependability and Security 1</a:t>
            </a:r>
            <a:endParaRPr lang="en-AU" sz="3000" noProof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EB5737EC-6B0F-48A4-822F-8406F637EBE0}"/>
              </a:ext>
            </a:extLst>
          </p:cNvPr>
          <p:cNvSpPr txBox="1">
            <a:spLocks noGrp="1" noChangeArrowheads="1"/>
          </p:cNvSpPr>
          <p:nvPr>
            <p:ph type="subTitle" idx="1"/>
          </p:nvPr>
        </p:nvSpPr>
        <p:spPr>
          <a:xfrm>
            <a:off x="647700" y="4502150"/>
            <a:ext cx="8035925" cy="65881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 of most materials: </a:t>
            </a:r>
          </a:p>
          <a:p>
            <a:pPr marL="0" indent="0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Xiwei Xu, Ingo Weber, and Mark Staples. </a:t>
            </a:r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chitecture for Blockchain Application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Springer, 2019</a:t>
            </a:r>
            <a:endParaRPr lang="en-US" altLang="de-DE" sz="1600" noProof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396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aults, Errors, Failu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 b="1" dirty="0"/>
              <a:t>Correct service </a:t>
            </a:r>
            <a:r>
              <a:rPr lang="en-AU" dirty="0"/>
              <a:t>is delivered when the service implements the system function.</a:t>
            </a:r>
          </a:p>
          <a:p>
            <a:r>
              <a:rPr lang="en-AU" dirty="0"/>
              <a:t>A </a:t>
            </a:r>
            <a:r>
              <a:rPr lang="en-AU" b="1" dirty="0"/>
              <a:t>(service) failure</a:t>
            </a:r>
            <a:r>
              <a:rPr lang="en-AU" dirty="0"/>
              <a:t>, is an event that occurs when the delivered service deviates from correct service.</a:t>
            </a:r>
          </a:p>
          <a:p>
            <a:r>
              <a:rPr lang="en-AU" dirty="0"/>
              <a:t>An </a:t>
            </a:r>
            <a:r>
              <a:rPr lang="en-AU" b="1" dirty="0"/>
              <a:t>error</a:t>
            </a:r>
            <a:r>
              <a:rPr lang="en-AU" dirty="0"/>
              <a:t> is a system state that could lead to a service failure.</a:t>
            </a:r>
          </a:p>
          <a:p>
            <a:r>
              <a:rPr lang="en-AU" dirty="0"/>
              <a:t>A </a:t>
            </a:r>
            <a:r>
              <a:rPr lang="en-AU" b="1" dirty="0"/>
              <a:t>fault</a:t>
            </a:r>
            <a:r>
              <a:rPr lang="en-AU" dirty="0"/>
              <a:t> is the adjudged or hypothesized cause of an error.</a:t>
            </a:r>
          </a:p>
          <a:p>
            <a:pPr lvl="1"/>
            <a:endParaRPr lang="en-AU" dirty="0"/>
          </a:p>
          <a:p>
            <a:r>
              <a:rPr lang="en-AU" b="1" dirty="0"/>
              <a:t>Fault prevention </a:t>
            </a:r>
            <a:r>
              <a:rPr lang="en-AU" dirty="0"/>
              <a:t>means to prevent the occurrence or introduction of faults.</a:t>
            </a:r>
          </a:p>
          <a:p>
            <a:r>
              <a:rPr lang="en-AU" b="1" dirty="0"/>
              <a:t>Fault tolerance </a:t>
            </a:r>
            <a:r>
              <a:rPr lang="en-AU" dirty="0"/>
              <a:t>means to avoid service failures in the presence of faults.</a:t>
            </a:r>
          </a:p>
          <a:p>
            <a:r>
              <a:rPr lang="en-AU" b="1" dirty="0"/>
              <a:t>Fault removal </a:t>
            </a:r>
            <a:r>
              <a:rPr lang="en-AU" dirty="0"/>
              <a:t>means to reduce the number and severity of faults.</a:t>
            </a:r>
          </a:p>
          <a:p>
            <a:r>
              <a:rPr lang="en-AU" b="1" dirty="0"/>
              <a:t>Fault forecasting </a:t>
            </a:r>
            <a:r>
              <a:rPr lang="en-AU" dirty="0"/>
              <a:t>means to estimate the present number, the future incidence, and the likely consequences of faults.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61BD18D-4A83-4FFE-B04E-8ACE2B324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04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/>
          <p:cNvGraphicFramePr/>
          <p:nvPr>
            <p:extLst/>
          </p:nvPr>
        </p:nvGraphicFramePr>
        <p:xfrm>
          <a:off x="260792" y="1097304"/>
          <a:ext cx="8712968" cy="37604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ISO/IEC 25010:2011 Quality Model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1335DF1-2352-4BA4-A845-F219A68A216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5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617275" y="1195433"/>
            <a:ext cx="2264787" cy="3541572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/>
          <p:cNvSpPr/>
          <p:nvPr/>
        </p:nvSpPr>
        <p:spPr>
          <a:xfrm>
            <a:off x="174246" y="1265331"/>
            <a:ext cx="1104539" cy="2323517"/>
          </a:xfrm>
          <a:prstGeom prst="rect">
            <a:avLst/>
          </a:prstGeom>
          <a:noFill/>
          <a:ln w="762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04181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Trust, and the</a:t>
            </a:r>
            <a:br>
              <a:rPr lang="en-AU" dirty="0"/>
            </a:br>
            <a:r>
              <a:rPr lang="en-AU" dirty="0"/>
              <a:t>Need for Trustworthy Blockchain Applications</a:t>
            </a:r>
            <a:br>
              <a:rPr lang="en-AU" dirty="0"/>
            </a:b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36987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6196"/>
            <a:ext cx="9144000" cy="572119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53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01032B"/>
              </a:clrFrom>
              <a:clrTo>
                <a:srgbClr val="01032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6877" y="291945"/>
            <a:ext cx="7509047" cy="525633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4426" y="5452114"/>
            <a:ext cx="897514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900" dirty="0">
                <a:solidFill>
                  <a:schemeClr val="bg1"/>
                </a:solidFill>
                <a:hlinkClick r:id="rId3"/>
              </a:rPr>
              <a:t>https://medium.com/fluree/blockchain-for-2018-and-beyond-a-growing-list-of-blockchain-use-cases-37db7c19fb99</a:t>
            </a:r>
            <a:r>
              <a:rPr lang="en-AU" sz="9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0FDD4AD-98FB-4505-BB74-B975DC5C5DD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952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691469" y="1237061"/>
            <a:ext cx="7328778" cy="3589797"/>
          </a:xfrm>
        </p:spPr>
        <p:txBody>
          <a:bodyPr>
            <a:noAutofit/>
          </a:bodyPr>
          <a:lstStyle/>
          <a:p>
            <a:r>
              <a:rPr lang="en-AU" sz="2400" dirty="0"/>
              <a:t>Smart contract bugs: DAO ($60M); Parity ($280M)</a:t>
            </a:r>
          </a:p>
          <a:p>
            <a:r>
              <a:rPr lang="en-AU" sz="2400" dirty="0"/>
              <a:t>Cryptographic key loss</a:t>
            </a:r>
          </a:p>
          <a:p>
            <a:pPr lvl="1"/>
            <a:r>
              <a:rPr lang="en-AU" sz="1800" dirty="0"/>
              <a:t>Hacking: Mt </a:t>
            </a:r>
            <a:r>
              <a:rPr lang="en-AU" sz="1800" dirty="0" err="1"/>
              <a:t>Gox</a:t>
            </a:r>
            <a:r>
              <a:rPr lang="en-AU" sz="1800" dirty="0"/>
              <a:t> ($450M), </a:t>
            </a:r>
            <a:r>
              <a:rPr lang="en-AU" sz="1800" dirty="0" err="1"/>
              <a:t>Bitfinex</a:t>
            </a:r>
            <a:r>
              <a:rPr lang="en-AU" sz="1800" dirty="0"/>
              <a:t> ($72M), total Jan-Sep 2018 ($927M); UK rubbish tip ($146M); guns e.g. NYC ($1.8M)</a:t>
            </a:r>
            <a:endParaRPr lang="en-AU" sz="1350" dirty="0"/>
          </a:p>
          <a:p>
            <a:pPr lvl="1"/>
            <a:endParaRPr lang="en-AU" sz="1800" dirty="0"/>
          </a:p>
          <a:p>
            <a:r>
              <a:rPr lang="en-AU" sz="2400" dirty="0"/>
              <a:t>Huge future economic value (the main point!)</a:t>
            </a:r>
          </a:p>
          <a:p>
            <a:pPr lvl="1"/>
            <a:r>
              <a:rPr lang="en-AU" sz="1800" dirty="0"/>
              <a:t>e.g. supply chain, asset registries, settlement, energy, …</a:t>
            </a:r>
          </a:p>
          <a:p>
            <a:pPr lvl="1"/>
            <a:endParaRPr lang="en-AU" sz="1800" dirty="0"/>
          </a:p>
          <a:p>
            <a:r>
              <a:rPr lang="en-AU" sz="2400" dirty="0"/>
              <a:t>Security-critical and Safety-critical use cases</a:t>
            </a:r>
          </a:p>
          <a:p>
            <a:pPr lvl="1"/>
            <a:r>
              <a:rPr lang="en-AU" sz="1800" dirty="0"/>
              <a:t>e.g. e-health records, food safety, pharma supply chain,</a:t>
            </a:r>
            <a:br>
              <a:rPr lang="en-AU" sz="1800" dirty="0"/>
            </a:br>
            <a:r>
              <a:rPr lang="en-AU" sz="1800" dirty="0" err="1"/>
              <a:t>IoT</a:t>
            </a:r>
            <a:r>
              <a:rPr lang="en-AU" sz="1800" dirty="0"/>
              <a:t> management, cybersecurity, law enforcement, …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800"/>
              <a:t>We (Will) Rely on Blockchain-Based Systems</a:t>
            </a:r>
            <a:endParaRPr lang="en-AU" sz="28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35A874-BC6B-4ED3-BA19-9179A9163C9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289800" y="5368925"/>
            <a:ext cx="1854200" cy="223838"/>
          </a:xfrm>
        </p:spPr>
        <p:txBody>
          <a:bodyPr/>
          <a:lstStyle/>
          <a:p>
            <a:fld id="{97F98C0B-273E-428A-ABCF-EBED2BA25188}" type="slidenum">
              <a:rPr lang="en-US" smtClean="0"/>
              <a:t>8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332" y="2565064"/>
            <a:ext cx="1224137" cy="122413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549" y="3791627"/>
            <a:ext cx="1151369" cy="11513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395" y="1351354"/>
            <a:ext cx="828246" cy="8282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03" y="1490507"/>
            <a:ext cx="692064" cy="592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62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bout “Trust”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AU" sz="2400" dirty="0"/>
              <a:t>Dependable Software Systems says…</a:t>
            </a:r>
          </a:p>
          <a:p>
            <a:pPr lvl="1"/>
            <a:r>
              <a:rPr lang="en-AU" sz="2100" u="sng" dirty="0"/>
              <a:t>Trusted</a:t>
            </a:r>
            <a:r>
              <a:rPr lang="en-AU" sz="2100" dirty="0"/>
              <a:t> System</a:t>
            </a:r>
          </a:p>
          <a:p>
            <a:pPr lvl="2"/>
            <a:r>
              <a:rPr lang="en-AU" sz="1800" dirty="0"/>
              <a:t>A system you have chosen to rely on to fulfil a goal</a:t>
            </a:r>
          </a:p>
          <a:p>
            <a:pPr lvl="2"/>
            <a:r>
              <a:rPr lang="en-AU" sz="1800" dirty="0"/>
              <a:t>When it fails, you suffer harm or loss</a:t>
            </a:r>
          </a:p>
          <a:p>
            <a:pPr lvl="1"/>
            <a:r>
              <a:rPr lang="en-AU" sz="2100" u="sng" dirty="0"/>
              <a:t>Trustworthy</a:t>
            </a:r>
            <a:r>
              <a:rPr lang="en-AU" sz="2100" dirty="0"/>
              <a:t> System</a:t>
            </a:r>
          </a:p>
          <a:p>
            <a:pPr lvl="2"/>
            <a:r>
              <a:rPr lang="en-AU" sz="1800" dirty="0"/>
              <a:t>A system where you have evidence it will not fail</a:t>
            </a:r>
          </a:p>
          <a:p>
            <a:pPr lvl="1"/>
            <a:endParaRPr lang="en-AU" sz="1800" dirty="0"/>
          </a:p>
          <a:p>
            <a:r>
              <a:rPr lang="en-AU" sz="2400" dirty="0"/>
              <a:t>“Trustless” Blockchains?  </a:t>
            </a:r>
            <a:r>
              <a:rPr lang="en-AU" sz="2400" b="1" dirty="0">
                <a:solidFill>
                  <a:srgbClr val="FF0000"/>
                </a:solidFill>
              </a:rPr>
              <a:t>MYTH!</a:t>
            </a:r>
          </a:p>
          <a:p>
            <a:pPr lvl="1"/>
            <a:r>
              <a:rPr lang="en-AU" sz="2100" dirty="0"/>
              <a:t>Can shift trust within a wider system</a:t>
            </a:r>
          </a:p>
          <a:p>
            <a:pPr lvl="1"/>
            <a:r>
              <a:rPr lang="en-AU" sz="2100" dirty="0"/>
              <a:t>Blockchains themselves become trusted components</a:t>
            </a:r>
          </a:p>
          <a:p>
            <a:pPr lvl="1"/>
            <a:r>
              <a:rPr lang="en-AU" sz="2100" dirty="0"/>
              <a:t>Other components are also trusted</a:t>
            </a:r>
          </a:p>
          <a:p>
            <a:pPr lvl="2"/>
            <a:r>
              <a:rPr lang="en-AU" sz="1800" dirty="0"/>
              <a:t>e.g. Oracles, Key Management Systems, 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BA3C05-7B9B-4796-B62F-984B12A703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7F98C0B-273E-428A-ABCF-EBED2BA25188}" type="slidenum">
              <a:rPr lang="en-US" smtClean="0"/>
              <a:t>9</a:t>
            </a:fld>
            <a:endParaRPr lang="en-US"/>
          </a:p>
        </p:txBody>
      </p:sp>
      <p:sp>
        <p:nvSpPr>
          <p:cNvPr id="6" name="Explosion 2 5"/>
          <p:cNvSpPr/>
          <p:nvPr/>
        </p:nvSpPr>
        <p:spPr>
          <a:xfrm>
            <a:off x="6264261" y="837009"/>
            <a:ext cx="2879739" cy="3151596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>
                <a:solidFill>
                  <a:srgbClr val="FFFFFF"/>
                </a:solidFill>
              </a:rPr>
              <a:t>Trust means accepting exposure to risk</a:t>
            </a:r>
          </a:p>
        </p:txBody>
      </p:sp>
    </p:spTree>
    <p:extLst>
      <p:ext uri="{BB962C8B-B14F-4D97-AF65-F5344CB8AC3E}">
        <p14:creationId xmlns:p14="http://schemas.microsoft.com/office/powerpoint/2010/main" val="2161407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echnische Universität Berlin | PowerPoint Master">
  <a:themeElements>
    <a:clrScheme name="Benutzerdefiniert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0070C0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ta61 PowerPoint Widescreen</Template>
  <TotalTime>0</TotalTime>
  <Words>3091</Words>
  <Application>Microsoft Office PowerPoint</Application>
  <PresentationFormat>On-screen Show (16:10)</PresentationFormat>
  <Paragraphs>463</Paragraphs>
  <Slides>35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等线</vt:lpstr>
      <vt:lpstr>Arial</vt:lpstr>
      <vt:lpstr>Calibri</vt:lpstr>
      <vt:lpstr>Cambria Math</vt:lpstr>
      <vt:lpstr>Stencil</vt:lpstr>
      <vt:lpstr>Wingdings</vt:lpstr>
      <vt:lpstr>Technische Universität Berlin | PowerPoint Master</vt:lpstr>
      <vt:lpstr>Dependability and Security 1</vt:lpstr>
      <vt:lpstr>What will you learn?</vt:lpstr>
      <vt:lpstr>Dependability and Security</vt:lpstr>
      <vt:lpstr>Faults, Errors, Failures</vt:lpstr>
      <vt:lpstr>ISO/IEC 25010:2011 Quality Model</vt:lpstr>
      <vt:lpstr>Trust, and the Need for Trustworthy Blockchain Applications </vt:lpstr>
      <vt:lpstr>PowerPoint Presentation</vt:lpstr>
      <vt:lpstr>We (Will) Rely on Blockchain-Based Systems</vt:lpstr>
      <vt:lpstr>About “Trust”</vt:lpstr>
      <vt:lpstr>Engineering: Assurance is Key</vt:lpstr>
      <vt:lpstr>Trustworthy Blockchain-Based Systems?</vt:lpstr>
      <vt:lpstr>Functionality</vt:lpstr>
      <vt:lpstr>Functional Suitability from ISO/IEC 25010:2011 </vt:lpstr>
      <vt:lpstr>Verification and Validation</vt:lpstr>
      <vt:lpstr>What Function?  Is it true that “Code is Law?</vt:lpstr>
      <vt:lpstr>The DAO terms Explanation of Terms and Disclaimer</vt:lpstr>
      <vt:lpstr>What Should Your Specification Be?</vt:lpstr>
      <vt:lpstr>Specifications are Models of Requirements</vt:lpstr>
      <vt:lpstr>Student Task</vt:lpstr>
      <vt:lpstr>Formal Specification &amp; Verification</vt:lpstr>
      <vt:lpstr>Formalising Smart Legal Contracts</vt:lpstr>
      <vt:lpstr>Security</vt:lpstr>
      <vt:lpstr>ISO/IEC 25010:2011 – Security Characteristics</vt:lpstr>
      <vt:lpstr>Integrity</vt:lpstr>
      <vt:lpstr>Integrity for Blockchain Platforms</vt:lpstr>
      <vt:lpstr>“Blockchain anomaly”</vt:lpstr>
      <vt:lpstr>Student Task</vt:lpstr>
      <vt:lpstr>Integrity for Component Services in Blockchain Applications</vt:lpstr>
      <vt:lpstr>Confidentiality</vt:lpstr>
      <vt:lpstr>Confidentiality for Blockchain Applications</vt:lpstr>
      <vt:lpstr>Privacy</vt:lpstr>
      <vt:lpstr>Non-Repudiation</vt:lpstr>
      <vt:lpstr>Accountability</vt:lpstr>
      <vt:lpstr>Authenticity</vt:lpstr>
      <vt:lpstr>Dependability and Security 1</vt:lpstr>
    </vt:vector>
  </TitlesOfParts>
  <Company>CSI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go Weber</dc:creator>
  <cp:lastModifiedBy>Ingo Weber</cp:lastModifiedBy>
  <cp:revision>1063</cp:revision>
  <dcterms:created xsi:type="dcterms:W3CDTF">2018-09-03T00:08:13Z</dcterms:created>
  <dcterms:modified xsi:type="dcterms:W3CDTF">2021-08-12T11:04:39Z</dcterms:modified>
</cp:coreProperties>
</file>